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33"/>
  </p:notesMasterIdLst>
  <p:handoutMasterIdLst>
    <p:handoutMasterId r:id="rId34"/>
  </p:handoutMasterIdLst>
  <p:sldIdLst>
    <p:sldId id="329" r:id="rId5"/>
    <p:sldId id="368" r:id="rId6"/>
    <p:sldId id="354" r:id="rId7"/>
    <p:sldId id="420" r:id="rId8"/>
    <p:sldId id="419" r:id="rId9"/>
    <p:sldId id="425" r:id="rId10"/>
    <p:sldId id="421" r:id="rId11"/>
    <p:sldId id="296" r:id="rId12"/>
    <p:sldId id="298" r:id="rId13"/>
    <p:sldId id="299" r:id="rId14"/>
    <p:sldId id="422" r:id="rId15"/>
    <p:sldId id="302" r:id="rId16"/>
    <p:sldId id="423" r:id="rId17"/>
    <p:sldId id="280" r:id="rId18"/>
    <p:sldId id="424" r:id="rId19"/>
    <p:sldId id="257" r:id="rId20"/>
    <p:sldId id="408" r:id="rId21"/>
    <p:sldId id="426" r:id="rId22"/>
    <p:sldId id="427" r:id="rId23"/>
    <p:sldId id="428" r:id="rId24"/>
    <p:sldId id="429" r:id="rId25"/>
    <p:sldId id="431" r:id="rId26"/>
    <p:sldId id="432" r:id="rId27"/>
    <p:sldId id="433" r:id="rId28"/>
    <p:sldId id="434" r:id="rId29"/>
    <p:sldId id="435" r:id="rId30"/>
    <p:sldId id="363" r:id="rId31"/>
    <p:sldId id="331" r:id="rId32"/>
  </p:sldIdLst>
  <p:sldSz cx="9144000" cy="5143500" type="screen16x9"/>
  <p:notesSz cx="6797675" cy="9926638"/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7474"/>
    <a:srgbClr val="A6A6A6"/>
    <a:srgbClr val="5F5F5F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34587" autoAdjust="0"/>
    <p:restoredTop sz="94700" autoAdjust="0"/>
  </p:normalViewPr>
  <p:slideViewPr>
    <p:cSldViewPr snapToObjects="1" showGuides="1">
      <p:cViewPr varScale="1">
        <p:scale>
          <a:sx n="142" d="100"/>
          <a:sy n="142" d="100"/>
        </p:scale>
        <p:origin x="114" y="258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outlineViewPr>
    <p:cViewPr>
      <p:scale>
        <a:sx n="33" d="100"/>
        <a:sy n="33" d="100"/>
      </p:scale>
      <p:origin x="0" y="34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-3738" y="-114"/>
      </p:cViewPr>
      <p:guideLst>
        <p:guide orient="horz" pos="3126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D0BAD0-1087-43A9-B1A9-7A9D8A84A638}" type="datetimeFigureOut">
              <a:rPr lang="de-DE" smtClean="0"/>
              <a:pPr/>
              <a:t>15.03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CF6FF2-31AE-4F51-8EE2-6B6790F3B26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766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3/15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>
            <a:normAutofit/>
          </a:bodyPr>
          <a:lstStyle/>
          <a:p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34086433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>
            <a:normAutofit/>
          </a:bodyPr>
          <a:lstStyle/>
          <a:p>
            <a:endParaRPr kumimoji="1" lang="en-US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33B16D-9C7D-40C5-BEB7-2B7812FA06E1}" type="slidenum">
              <a:rPr kumimoji="1" lang="en-US" smtClean="0"/>
              <a:pPr/>
              <a:t>14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26836862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>
            <a:normAutofit/>
          </a:bodyPr>
          <a:lstStyle/>
          <a:p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8531244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>
            <a:normAutofit/>
          </a:bodyPr>
          <a:lstStyle/>
          <a:p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9415494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0069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221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>
            <a:normAutofit/>
          </a:bodyPr>
          <a:lstStyle/>
          <a:p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3570913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>
            <a:normAutofit/>
          </a:bodyPr>
          <a:lstStyle/>
          <a:p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31341146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>
            <a:normAutofit/>
          </a:bodyPr>
          <a:lstStyle/>
          <a:p>
            <a:endParaRPr kumimoji="1" lang="en-US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33B16D-9C7D-40C5-BEB7-2B7812FA06E1}" type="slidenum">
              <a:rPr kumimoji="1" lang="en-US" smtClean="0"/>
              <a:pPr/>
              <a:t>8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4171810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>
            <a:normAutofit/>
          </a:bodyPr>
          <a:lstStyle/>
          <a:p>
            <a:endParaRPr kumimoji="1" lang="en-US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33B16D-9C7D-40C5-BEB7-2B7812FA06E1}" type="slidenum">
              <a:rPr kumimoji="1" lang="en-US" smtClean="0"/>
              <a:pPr/>
              <a:t>9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10306675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>
            <a:normAutofit/>
          </a:bodyPr>
          <a:lstStyle/>
          <a:p>
            <a:endParaRPr kumimoji="1" lang="en-US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33B16D-9C7D-40C5-BEB7-2B7812FA06E1}" type="slidenum">
              <a:rPr kumimoji="1" lang="en-US" smtClean="0"/>
              <a:pPr/>
              <a:t>10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42187824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>
            <a:normAutofit/>
          </a:bodyPr>
          <a:lstStyle/>
          <a:p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3364736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>
            <a:normAutofit/>
          </a:bodyPr>
          <a:lstStyle/>
          <a:p>
            <a:endParaRPr kumimoji="1" lang="en-US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33B16D-9C7D-40C5-BEB7-2B7812FA06E1}" type="slidenum">
              <a:rPr kumimoji="1" lang="en-US" smtClean="0"/>
              <a:pPr/>
              <a:t>12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17018189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</p:spPr>
        <p:txBody>
          <a:bodyPr>
            <a:normAutofit/>
          </a:bodyPr>
          <a:lstStyle/>
          <a:p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1164140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 keep Watch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7,6 cm)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388" y="195264"/>
            <a:ext cx="8785223" cy="273685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We Keep Watching, Even if You Look Away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Advanced Driver Assistance Systems</a:t>
            </a:r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err="1">
                <a:solidFill>
                  <a:schemeClr val="tx1"/>
                </a:solidFill>
              </a:rPr>
              <a:t>Wen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neues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fügen</a:t>
            </a:r>
            <a:r>
              <a:rPr lang="en-US" sz="900" noProof="0" dirty="0">
                <a:solidFill>
                  <a:schemeClr val="tx1"/>
                </a:solidFill>
              </a:rPr>
              <a:t>: </a:t>
            </a:r>
            <a:r>
              <a:rPr lang="en-US" sz="900" noProof="0" dirty="0" err="1">
                <a:solidFill>
                  <a:schemeClr val="tx1"/>
                </a:solidFill>
              </a:rPr>
              <a:t>Klick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it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der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recht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austaste</a:t>
            </a:r>
            <a:r>
              <a:rPr lang="en-US" sz="900" noProof="0" dirty="0">
                <a:solidFill>
                  <a:schemeClr val="tx1"/>
                </a:solidFill>
              </a:rPr>
              <a:t> auf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und </a:t>
            </a:r>
            <a:r>
              <a:rPr lang="en-US" sz="900" noProof="0" dirty="0" err="1">
                <a:solidFill>
                  <a:schemeClr val="tx1"/>
                </a:solidFill>
              </a:rPr>
              <a:t>wählen</a:t>
            </a:r>
            <a:r>
              <a:rPr lang="en-US" sz="900" noProof="0" dirty="0">
                <a:solidFill>
                  <a:schemeClr val="tx1"/>
                </a:solidFill>
              </a:rPr>
              <a:t> „In den </a:t>
            </a:r>
            <a:r>
              <a:rPr lang="en-US" sz="900" noProof="0" dirty="0" err="1">
                <a:solidFill>
                  <a:schemeClr val="tx1"/>
                </a:solidFill>
              </a:rPr>
              <a:t>Hintergrund</a:t>
            </a:r>
            <a:r>
              <a:rPr lang="en-US" sz="900" noProof="0" dirty="0">
                <a:solidFill>
                  <a:schemeClr val="tx1"/>
                </a:solidFill>
              </a:rPr>
              <a:t>“, um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hinter das Quality Seal </a:t>
            </a:r>
            <a:r>
              <a:rPr lang="en-US" sz="900" noProof="0" dirty="0" err="1">
                <a:solidFill>
                  <a:schemeClr val="tx1"/>
                </a:solidFill>
              </a:rPr>
              <a:t>zu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ringen</a:t>
            </a:r>
            <a:r>
              <a:rPr lang="en-US" sz="900" noProof="0" dirty="0">
                <a:solidFill>
                  <a:schemeClr val="tx1"/>
                </a:solidFill>
              </a:rPr>
              <a:t>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11" descr="SensePlanAct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185390" y="4595206"/>
            <a:ext cx="1189181" cy="280800"/>
          </a:xfrm>
          <a:prstGeom prst="rect">
            <a:avLst/>
          </a:prstGeom>
        </p:spPr>
      </p:pic>
      <p:pic>
        <p:nvPicPr>
          <p:cNvPr id="22" name="Grafik 21" descr="conti_senseplanact_Poster_xs_v25.png"/>
          <p:cNvPicPr>
            <a:picLocks noChangeAspect="1"/>
          </p:cNvPicPr>
          <p:nvPr userDrawn="1"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3704" y="4155926"/>
            <a:ext cx="8748000" cy="567370"/>
          </a:xfrm>
          <a:prstGeom prst="rect">
            <a:avLst/>
          </a:prstGeom>
        </p:spPr>
      </p:pic>
      <p:sp>
        <p:nvSpPr>
          <p:cNvPr id="23" name="Textplatzhalt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3239" y="4443958"/>
            <a:ext cx="5075797" cy="368813"/>
          </a:xfrm>
        </p:spPr>
        <p:txBody>
          <a:bodyPr anchor="b" anchorCtr="0">
            <a:normAutofit/>
          </a:bodyPr>
          <a:lstStyle>
            <a:lvl1pPr algn="l">
              <a:buFontTx/>
              <a:buNone/>
              <a:defRPr sz="800"/>
            </a:lvl1pPr>
          </a:lstStyle>
          <a:p>
            <a:pPr algn="l"/>
            <a:r>
              <a:rPr lang="en-US" sz="800" noProof="0" dirty="0"/>
              <a:t>Chassis &amp; Safety | Advanced Driver Assistance Systems</a:t>
            </a:r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and End Page &quot;Safe and Dynamic Driving ...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205011"/>
            <a:ext cx="8783639" cy="4770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3568" y="2928069"/>
            <a:ext cx="2664296" cy="1802453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1" y="735547"/>
            <a:ext cx="8496300" cy="3672147"/>
          </a:xfrm>
        </p:spPr>
        <p:txBody>
          <a:bodyPr/>
          <a:lstStyle>
            <a:lvl1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1pPr>
            <a:lvl2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2pPr>
            <a:lvl3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3pPr>
            <a:lvl4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4pPr>
            <a:lvl5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pic>
        <p:nvPicPr>
          <p:cNvPr id="7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6631459" y="4651832"/>
            <a:ext cx="2196642" cy="2829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9797967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6E61E5-4FA4-4236-9CF3-AEF69C403A27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de-DE" dirty="0">
                <a:solidFill>
                  <a:srgbClr val="000000"/>
                </a:solidFill>
              </a:rPr>
              <a:t> / A. Kaps / 30.05.2012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3628736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8/7/2019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pic>
        <p:nvPicPr>
          <p:cNvPr id="10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6631459" y="4651832"/>
            <a:ext cx="2196642" cy="2829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6115688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iger Fa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D:\DSUsers\uidw0282\50 Communication\40 Product &amp; Online\Luchs\ADAS_Luchsaugen_Abgesoftet_800p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83763" y="411686"/>
            <a:ext cx="3760237" cy="3168000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 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el 1"/>
          <p:cNvSpPr txBox="1">
            <a:spLocks/>
          </p:cNvSpPr>
          <p:nvPr userDrawn="1"/>
        </p:nvSpPr>
        <p:spPr>
          <a:xfrm>
            <a:off x="504315" y="1707654"/>
            <a:ext cx="8172141" cy="4176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Senses for Safety</a:t>
            </a:r>
          </a:p>
        </p:txBody>
      </p:sp>
      <p:sp>
        <p:nvSpPr>
          <p:cNvPr id="21" name="Untertitel 2"/>
          <p:cNvSpPr txBox="1">
            <a:spLocks/>
          </p:cNvSpPr>
          <p:nvPr userDrawn="1"/>
        </p:nvSpPr>
        <p:spPr>
          <a:xfrm>
            <a:off x="504316" y="1995686"/>
            <a:ext cx="8172140" cy="36004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Driver assistance systems help save lives</a:t>
            </a:r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rg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05200" y="1060053"/>
            <a:ext cx="5099050" cy="1187255"/>
          </a:xfrm>
          <a:ln w="25400">
            <a:gradFill>
              <a:gsLst>
                <a:gs pos="40000">
                  <a:srgbClr val="FFC800"/>
                </a:gs>
                <a:gs pos="40000">
                  <a:srgbClr val="FFC000"/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  <a:lin ang="3900000" scaled="0"/>
            </a:gradFill>
          </a:ln>
        </p:spPr>
        <p:txBody>
          <a:bodyPr lIns="91440" tIns="502920" rIns="91440"/>
          <a:lstStyle>
            <a:lvl1pPr>
              <a:defRPr sz="1400" baseline="0"/>
            </a:lvl1pPr>
          </a:lstStyle>
          <a:p>
            <a:pPr lvl="0"/>
            <a:r>
              <a:rPr lang="en-US" noProof="0" dirty="0"/>
              <a:t>Explanation 1</a:t>
            </a:r>
            <a:br>
              <a:rPr lang="en-US" noProof="0" dirty="0"/>
            </a:br>
            <a:r>
              <a:rPr lang="en-US" noProof="0" dirty="0" err="1"/>
              <a:t>abc</a:t>
            </a:r>
            <a:endParaRPr lang="en-US" noProof="0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505200" y="1059582"/>
            <a:ext cx="5099050" cy="432519"/>
          </a:xfrm>
          <a:gradFill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</a:gradFill>
        </p:spPr>
        <p:txBody>
          <a:bodyPr tIns="0"/>
          <a:lstStyle>
            <a:lvl1pPr marL="0" indent="0" algn="ctr">
              <a:buFontTx/>
              <a:buNone/>
              <a:defRPr b="1" i="0" baseline="0"/>
            </a:lvl1pPr>
          </a:lstStyle>
          <a:p>
            <a:pPr lvl="0"/>
            <a:r>
              <a:rPr lang="en-US" noProof="0" dirty="0"/>
              <a:t>Target Group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498850" y="2419350"/>
            <a:ext cx="5099050" cy="1844592"/>
          </a:xfrm>
          <a:ln w="25400">
            <a:gradFill>
              <a:gsLst>
                <a:gs pos="40000">
                  <a:srgbClr val="FFC800"/>
                </a:gs>
                <a:gs pos="40000">
                  <a:srgbClr val="FFC000"/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  <a:lin ang="3900000" scaled="0"/>
            </a:gradFill>
          </a:ln>
        </p:spPr>
        <p:txBody>
          <a:bodyPr lIns="91440" tIns="502920" rIns="91440"/>
          <a:lstStyle>
            <a:lvl1pPr>
              <a:defRPr sz="1400" baseline="0"/>
            </a:lvl1pPr>
          </a:lstStyle>
          <a:p>
            <a:pPr lvl="0"/>
            <a:r>
              <a:rPr lang="en-US" noProof="0" dirty="0"/>
              <a:t>Explanation 1</a:t>
            </a:r>
            <a:br>
              <a:rPr lang="en-US" noProof="0" dirty="0"/>
            </a:br>
            <a:r>
              <a:rPr lang="en-US" noProof="0" dirty="0" err="1"/>
              <a:t>abc</a:t>
            </a:r>
            <a:endParaRPr lang="en-US" noProof="0" dirty="0"/>
          </a:p>
          <a:p>
            <a:pPr lvl="0"/>
            <a:r>
              <a:rPr lang="en-US" noProof="0" dirty="0"/>
              <a:t>Explanation 2</a:t>
            </a:r>
            <a:br>
              <a:rPr lang="en-US" noProof="0" dirty="0"/>
            </a:br>
            <a:r>
              <a:rPr lang="en-US" noProof="0" dirty="0" err="1"/>
              <a:t>abc</a:t>
            </a:r>
            <a:endParaRPr lang="en-US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498850" y="2355490"/>
            <a:ext cx="5099050" cy="432519"/>
          </a:xfrm>
          <a:gradFill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</a:gradFill>
        </p:spPr>
        <p:txBody>
          <a:bodyPr tIns="0"/>
          <a:lstStyle>
            <a:lvl1pPr marL="0" indent="0" algn="ctr">
              <a:buFontTx/>
              <a:buNone/>
              <a:defRPr b="1" i="0" baseline="0"/>
            </a:lvl1pPr>
          </a:lstStyle>
          <a:p>
            <a:pPr lvl="0"/>
            <a:r>
              <a:rPr lang="en-US" noProof="0" dirty="0"/>
              <a:t>Training Targe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F55A69B-E0B0-422B-83E8-1E83BC21E99D}"/>
              </a:ext>
            </a:extLst>
          </p:cNvPr>
          <p:cNvGrpSpPr/>
          <p:nvPr userDrawn="1"/>
        </p:nvGrpSpPr>
        <p:grpSpPr>
          <a:xfrm>
            <a:off x="563863" y="1230061"/>
            <a:ext cx="2637638" cy="2033411"/>
            <a:chOff x="4953000" y="1352550"/>
            <a:chExt cx="5533238" cy="426569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FF04175E-FC82-45E9-9EE1-4482D6C64D1D}"/>
                </a:ext>
              </a:extLst>
            </p:cNvPr>
            <p:cNvGrpSpPr/>
            <p:nvPr/>
          </p:nvGrpSpPr>
          <p:grpSpPr>
            <a:xfrm>
              <a:off x="4953000" y="1352550"/>
              <a:ext cx="4265896" cy="4265690"/>
              <a:chOff x="10070537" y="3323510"/>
              <a:chExt cx="4265896" cy="4265690"/>
            </a:xfrm>
          </p:grpSpPr>
          <p:sp>
            <p:nvSpPr>
              <p:cNvPr id="19" name="Freeform 13">
                <a:extLst>
                  <a:ext uri="{FF2B5EF4-FFF2-40B4-BE49-F238E27FC236}">
                    <a16:creationId xmlns:a16="http://schemas.microsoft.com/office/drawing/2014/main" id="{E66E5387-8D5F-439B-8DEC-31403D2917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70537" y="3323510"/>
                <a:ext cx="4265896" cy="4265690"/>
              </a:xfrm>
              <a:custGeom>
                <a:avLst/>
                <a:gdLst>
                  <a:gd name="G0" fmla="+- 1 0 0"/>
                  <a:gd name="G1" fmla="+- 1 0 0"/>
                  <a:gd name="G2" fmla="+- 1 0 0"/>
                  <a:gd name="G3" fmla="+- 1 0 0"/>
                  <a:gd name="G4" fmla="+- 1 0 0"/>
                  <a:gd name="G5" fmla="+- 1 0 0"/>
                  <a:gd name="G6" fmla="+- 3523 0 0"/>
                  <a:gd name="G7" fmla="+- 2269 0 0"/>
                  <a:gd name="G8" fmla="+- 1016 0 0"/>
                  <a:gd name="G9" fmla="+- 1 0 0"/>
                  <a:gd name="G10" fmla="+- 1 0 0"/>
                  <a:gd name="G11" fmla="+- 1 0 0"/>
                  <a:gd name="G12" fmla="+- 1 0 0"/>
                  <a:gd name="G13" fmla="+- 1 0 0"/>
                  <a:gd name="T0" fmla="*/ 1634765 w 4540"/>
                  <a:gd name="T1" fmla="*/ 817202 h 4540"/>
                  <a:gd name="T2" fmla="*/ 1634765 w 4540"/>
                  <a:gd name="T3" fmla="*/ 817202 h 4540"/>
                  <a:gd name="T4" fmla="*/ 817563 w 4540"/>
                  <a:gd name="T5" fmla="*/ 1634765 h 4540"/>
                  <a:gd name="T6" fmla="*/ 0 w 4540"/>
                  <a:gd name="T7" fmla="*/ 817202 h 4540"/>
                  <a:gd name="T8" fmla="*/ 817563 w 4540"/>
                  <a:gd name="T9" fmla="*/ 0 h 4540"/>
                  <a:gd name="T10" fmla="*/ 1634765 w 4540"/>
                  <a:gd name="T11" fmla="*/ 817202 h 4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40" h="4540">
                    <a:moveTo>
                      <a:pt x="4539" y="2269"/>
                    </a:moveTo>
                    <a:lnTo>
                      <a:pt x="4539" y="2269"/>
                    </a:lnTo>
                    <a:cubicBezTo>
                      <a:pt x="4539" y="3523"/>
                      <a:pt x="3523" y="4539"/>
                      <a:pt x="2270" y="4539"/>
                    </a:cubicBezTo>
                    <a:cubicBezTo>
                      <a:pt x="1016" y="4539"/>
                      <a:pt x="0" y="3523"/>
                      <a:pt x="0" y="2269"/>
                    </a:cubicBezTo>
                    <a:cubicBezTo>
                      <a:pt x="0" y="1016"/>
                      <a:pt x="1016" y="0"/>
                      <a:pt x="2270" y="0"/>
                    </a:cubicBezTo>
                    <a:cubicBezTo>
                      <a:pt x="3523" y="0"/>
                      <a:pt x="4539" y="1016"/>
                      <a:pt x="4539" y="226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56" tIns="121878" rIns="243756" bIns="121878" anchor="ctr"/>
              <a:lstStyle/>
              <a:p>
                <a:endParaRPr lang="en-US" dirty="0">
                  <a:latin typeface="Calibri Light"/>
                </a:endParaRPr>
              </a:p>
            </p:txBody>
          </p:sp>
          <p:sp>
            <p:nvSpPr>
              <p:cNvPr id="20" name="Freeform 14">
                <a:extLst>
                  <a:ext uri="{FF2B5EF4-FFF2-40B4-BE49-F238E27FC236}">
                    <a16:creationId xmlns:a16="http://schemas.microsoft.com/office/drawing/2014/main" id="{E1F3A52F-46E4-47BD-A65A-4F974F3C50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42684" y="3791492"/>
                <a:ext cx="3321600" cy="3321439"/>
              </a:xfrm>
              <a:custGeom>
                <a:avLst/>
                <a:gdLst>
                  <a:gd name="G0" fmla="+- 1 0 0"/>
                  <a:gd name="G1" fmla="+- 1 0 0"/>
                  <a:gd name="G2" fmla="+- 1 0 0"/>
                  <a:gd name="G3" fmla="+- 1 0 0"/>
                  <a:gd name="G4" fmla="+- 1 0 0"/>
                  <a:gd name="G5" fmla="+- 1 0 0"/>
                  <a:gd name="G6" fmla="+- 2745 0 0"/>
                  <a:gd name="G7" fmla="+- 1768 0 0"/>
                  <a:gd name="G8" fmla="+- 792 0 0"/>
                  <a:gd name="G9" fmla="+- 1 0 0"/>
                  <a:gd name="G10" fmla="+- 1 0 0"/>
                  <a:gd name="G11" fmla="+- 1 0 0"/>
                  <a:gd name="G12" fmla="+- 1 0 0"/>
                  <a:gd name="G13" fmla="+- 1 0 0"/>
                  <a:gd name="T0" fmla="*/ 1272815 w 3538"/>
                  <a:gd name="T1" fmla="*/ 636228 h 3538"/>
                  <a:gd name="T2" fmla="*/ 1272815 w 3538"/>
                  <a:gd name="T3" fmla="*/ 636228 h 3538"/>
                  <a:gd name="T4" fmla="*/ 636588 w 3538"/>
                  <a:gd name="T5" fmla="*/ 1272815 h 3538"/>
                  <a:gd name="T6" fmla="*/ 0 w 3538"/>
                  <a:gd name="T7" fmla="*/ 636228 h 3538"/>
                  <a:gd name="T8" fmla="*/ 636588 w 3538"/>
                  <a:gd name="T9" fmla="*/ 0 h 3538"/>
                  <a:gd name="T10" fmla="*/ 1272815 w 3538"/>
                  <a:gd name="T11" fmla="*/ 636228 h 3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38" h="3538">
                    <a:moveTo>
                      <a:pt x="3537" y="1768"/>
                    </a:moveTo>
                    <a:lnTo>
                      <a:pt x="3537" y="1768"/>
                    </a:lnTo>
                    <a:cubicBezTo>
                      <a:pt x="3537" y="2745"/>
                      <a:pt x="2745" y="3537"/>
                      <a:pt x="1769" y="3537"/>
                    </a:cubicBezTo>
                    <a:cubicBezTo>
                      <a:pt x="792" y="3537"/>
                      <a:pt x="0" y="2745"/>
                      <a:pt x="0" y="1768"/>
                    </a:cubicBezTo>
                    <a:cubicBezTo>
                      <a:pt x="0" y="792"/>
                      <a:pt x="792" y="0"/>
                      <a:pt x="1769" y="0"/>
                    </a:cubicBezTo>
                    <a:cubicBezTo>
                      <a:pt x="2745" y="0"/>
                      <a:pt x="3537" y="792"/>
                      <a:pt x="3537" y="1768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56" tIns="121878" rIns="243756" bIns="121878" anchor="ctr"/>
              <a:lstStyle/>
              <a:p>
                <a:endParaRPr lang="en-US" dirty="0">
                  <a:latin typeface="Calibri Light"/>
                </a:endParaRPr>
              </a:p>
            </p:txBody>
          </p:sp>
          <p:sp>
            <p:nvSpPr>
              <p:cNvPr id="21" name="Freeform 15">
                <a:extLst>
                  <a:ext uri="{FF2B5EF4-FFF2-40B4-BE49-F238E27FC236}">
                    <a16:creationId xmlns:a16="http://schemas.microsoft.com/office/drawing/2014/main" id="{CC2E1282-A924-4A42-9103-7BB066D6B8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0691" y="4263617"/>
                <a:ext cx="2381445" cy="2381333"/>
              </a:xfrm>
              <a:custGeom>
                <a:avLst/>
                <a:gdLst>
                  <a:gd name="G0" fmla="+- 1 0 0"/>
                  <a:gd name="G1" fmla="+- 1 0 0"/>
                  <a:gd name="G2" fmla="+- 1 0 0"/>
                  <a:gd name="G3" fmla="+- 1 0 0"/>
                  <a:gd name="G4" fmla="+- 1 0 0"/>
                  <a:gd name="G5" fmla="+- 1 0 0"/>
                  <a:gd name="G6" fmla="+- 1966 0 0"/>
                  <a:gd name="G7" fmla="+- 1267 0 0"/>
                  <a:gd name="G8" fmla="+- 566 0 0"/>
                  <a:gd name="G9" fmla="+- 1 0 0"/>
                  <a:gd name="G10" fmla="+- 1 0 0"/>
                  <a:gd name="G11" fmla="+- 1 0 0"/>
                  <a:gd name="G12" fmla="+- 1 0 0"/>
                  <a:gd name="G13" fmla="+- 1 0 0"/>
                  <a:gd name="T0" fmla="*/ 912452 w 2536"/>
                  <a:gd name="T1" fmla="*/ 456047 h 2536"/>
                  <a:gd name="T2" fmla="*/ 912452 w 2536"/>
                  <a:gd name="T3" fmla="*/ 456047 h 2536"/>
                  <a:gd name="T4" fmla="*/ 456406 w 2536"/>
                  <a:gd name="T5" fmla="*/ 912453 h 2536"/>
                  <a:gd name="T6" fmla="*/ 0 w 2536"/>
                  <a:gd name="T7" fmla="*/ 456047 h 2536"/>
                  <a:gd name="T8" fmla="*/ 456406 w 2536"/>
                  <a:gd name="T9" fmla="*/ 0 h 2536"/>
                  <a:gd name="T10" fmla="*/ 912452 w 2536"/>
                  <a:gd name="T11" fmla="*/ 456047 h 2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36" h="2536">
                    <a:moveTo>
                      <a:pt x="2535" y="1267"/>
                    </a:moveTo>
                    <a:lnTo>
                      <a:pt x="2535" y="1267"/>
                    </a:lnTo>
                    <a:cubicBezTo>
                      <a:pt x="2535" y="1966"/>
                      <a:pt x="1969" y="2535"/>
                      <a:pt x="1268" y="2535"/>
                    </a:cubicBezTo>
                    <a:cubicBezTo>
                      <a:pt x="569" y="2535"/>
                      <a:pt x="0" y="1966"/>
                      <a:pt x="0" y="1267"/>
                    </a:cubicBezTo>
                    <a:cubicBezTo>
                      <a:pt x="0" y="566"/>
                      <a:pt x="569" y="0"/>
                      <a:pt x="1268" y="0"/>
                    </a:cubicBezTo>
                    <a:cubicBezTo>
                      <a:pt x="1969" y="0"/>
                      <a:pt x="2535" y="566"/>
                      <a:pt x="2535" y="126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56" tIns="121878" rIns="243756" bIns="121878" anchor="ctr"/>
              <a:lstStyle/>
              <a:p>
                <a:endParaRPr lang="en-US" dirty="0">
                  <a:latin typeface="Calibri Light"/>
                </a:endParaRPr>
              </a:p>
            </p:txBody>
          </p:sp>
          <p:sp>
            <p:nvSpPr>
              <p:cNvPr id="22" name="Freeform 16">
                <a:extLst>
                  <a:ext uri="{FF2B5EF4-FFF2-40B4-BE49-F238E27FC236}">
                    <a16:creationId xmlns:a16="http://schemas.microsoft.com/office/drawing/2014/main" id="{62765EB9-1BC7-4471-A60F-61637DFF64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82839" y="4731602"/>
                <a:ext cx="1441293" cy="1445364"/>
              </a:xfrm>
              <a:custGeom>
                <a:avLst/>
                <a:gdLst>
                  <a:gd name="G0" fmla="+- 1 0 0"/>
                  <a:gd name="G1" fmla="+- 1 0 0"/>
                  <a:gd name="G2" fmla="+- 1 0 0"/>
                  <a:gd name="G3" fmla="+- 1 0 0"/>
                  <a:gd name="G4" fmla="+- 1 0 0"/>
                  <a:gd name="G5" fmla="+- 1 0 0"/>
                  <a:gd name="G6" fmla="+- 1193 0 0"/>
                  <a:gd name="G7" fmla="+- 769 0 0"/>
                  <a:gd name="G8" fmla="+- 345 0 0"/>
                  <a:gd name="G9" fmla="+- 1 0 0"/>
                  <a:gd name="G10" fmla="+- 1 0 0"/>
                  <a:gd name="G11" fmla="+- 1 0 0"/>
                  <a:gd name="G12" fmla="+- 1 0 0"/>
                  <a:gd name="G13" fmla="+- 1 0 0"/>
                  <a:gd name="T0" fmla="*/ 552090 w 1534"/>
                  <a:gd name="T1" fmla="*/ 277199 h 1537"/>
                  <a:gd name="T2" fmla="*/ 552090 w 1534"/>
                  <a:gd name="T3" fmla="*/ 277199 h 1537"/>
                  <a:gd name="T4" fmla="*/ 276225 w 1534"/>
                  <a:gd name="T5" fmla="*/ 553677 h 1537"/>
                  <a:gd name="T6" fmla="*/ 0 w 1534"/>
                  <a:gd name="T7" fmla="*/ 277199 h 1537"/>
                  <a:gd name="T8" fmla="*/ 276225 w 1534"/>
                  <a:gd name="T9" fmla="*/ 0 h 1537"/>
                  <a:gd name="T10" fmla="*/ 552090 w 1534"/>
                  <a:gd name="T11" fmla="*/ 277199 h 1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34" h="1537">
                    <a:moveTo>
                      <a:pt x="1533" y="769"/>
                    </a:moveTo>
                    <a:lnTo>
                      <a:pt x="1533" y="769"/>
                    </a:lnTo>
                    <a:cubicBezTo>
                      <a:pt x="1533" y="1193"/>
                      <a:pt x="1191" y="1536"/>
                      <a:pt x="767" y="1536"/>
                    </a:cubicBezTo>
                    <a:cubicBezTo>
                      <a:pt x="342" y="1536"/>
                      <a:pt x="0" y="1193"/>
                      <a:pt x="0" y="769"/>
                    </a:cubicBezTo>
                    <a:cubicBezTo>
                      <a:pt x="0" y="345"/>
                      <a:pt x="342" y="0"/>
                      <a:pt x="767" y="0"/>
                    </a:cubicBezTo>
                    <a:cubicBezTo>
                      <a:pt x="1191" y="0"/>
                      <a:pt x="1533" y="345"/>
                      <a:pt x="1533" y="769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56" tIns="121878" rIns="243756" bIns="121878" anchor="ctr"/>
              <a:lstStyle/>
              <a:p>
                <a:endParaRPr lang="en-US" dirty="0">
                  <a:latin typeface="Calibri Light"/>
                </a:endParaRPr>
              </a:p>
            </p:txBody>
          </p:sp>
          <p:sp>
            <p:nvSpPr>
              <p:cNvPr id="23" name="Freeform 17">
                <a:extLst>
                  <a:ext uri="{FF2B5EF4-FFF2-40B4-BE49-F238E27FC236}">
                    <a16:creationId xmlns:a16="http://schemas.microsoft.com/office/drawing/2014/main" id="{D579918B-300C-439B-A8ED-F6A81F49DA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50843" y="5199582"/>
                <a:ext cx="501141" cy="501117"/>
              </a:xfrm>
              <a:custGeom>
                <a:avLst/>
                <a:gdLst>
                  <a:gd name="G0" fmla="+- 1 0 0"/>
                  <a:gd name="G1" fmla="+- 1 0 0"/>
                  <a:gd name="G2" fmla="+- 1 0 0"/>
                  <a:gd name="G3" fmla="+- 1 0 0"/>
                  <a:gd name="G4" fmla="*/ 1 0 0"/>
                  <a:gd name="T0" fmla="*/ 534 256 1"/>
                  <a:gd name="T1" fmla="*/ 0 256 1"/>
                  <a:gd name="G5" fmla="+- 0 T0 T1"/>
                  <a:gd name="G6" fmla="cos G4 G5"/>
                  <a:gd name="G7" fmla="+- 1 0 0"/>
                  <a:gd name="G8" fmla="+- 415 0 0"/>
                  <a:gd name="G9" fmla="+- 268 0 0"/>
                  <a:gd name="G10" fmla="+- 121 0 0"/>
                  <a:gd name="G11" fmla="+- 1 0 0"/>
                  <a:gd name="G12" fmla="*/ 1 0 0"/>
                  <a:gd name="G13" fmla="*/ 1 0 0"/>
                  <a:gd name="G14" fmla="cos G12 G13"/>
                  <a:gd name="G15" fmla="+- 1 0 0"/>
                  <a:gd name="G16" fmla="+- 1 0 0"/>
                  <a:gd name="G17" fmla="+- 1 0 0"/>
                  <a:gd name="T2" fmla="*/ 191729 w 535"/>
                  <a:gd name="T3" fmla="*/ 96224 h 535"/>
                  <a:gd name="T4" fmla="*/ 191729 w 535"/>
                  <a:gd name="T5" fmla="*/ 96224 h 535"/>
                  <a:gd name="T6" fmla="*/ 95505 w 535"/>
                  <a:gd name="T7" fmla="*/ 191729 h 535"/>
                  <a:gd name="T8" fmla="*/ 0 w 535"/>
                  <a:gd name="T9" fmla="*/ 96224 h 535"/>
                  <a:gd name="T10" fmla="*/ 95505 w 535"/>
                  <a:gd name="T11" fmla="*/ 0 h 535"/>
                  <a:gd name="T12" fmla="*/ 191729 w 535"/>
                  <a:gd name="T13" fmla="*/ 96224 h 535"/>
                </a:gdLst>
                <a:ahLst/>
                <a:cxnLst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5" h="535">
                    <a:moveTo>
                      <a:pt x="534" y="268"/>
                    </a:moveTo>
                    <a:lnTo>
                      <a:pt x="534" y="268"/>
                    </a:lnTo>
                    <a:cubicBezTo>
                      <a:pt x="534" y="415"/>
                      <a:pt x="412" y="534"/>
                      <a:pt x="266" y="534"/>
                    </a:cubicBezTo>
                    <a:cubicBezTo>
                      <a:pt x="119" y="534"/>
                      <a:pt x="0" y="415"/>
                      <a:pt x="0" y="268"/>
                    </a:cubicBezTo>
                    <a:cubicBezTo>
                      <a:pt x="0" y="121"/>
                      <a:pt x="119" y="0"/>
                      <a:pt x="266" y="0"/>
                    </a:cubicBezTo>
                    <a:cubicBezTo>
                      <a:pt x="412" y="0"/>
                      <a:pt x="534" y="121"/>
                      <a:pt x="534" y="268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56" tIns="121878" rIns="243756" bIns="121878" anchor="ctr"/>
              <a:lstStyle/>
              <a:p>
                <a:endParaRPr lang="en-US" dirty="0">
                  <a:latin typeface="Calibri Light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29EBB8F-B9D4-4DF5-942F-86D1C8553BFD}"/>
                </a:ext>
              </a:extLst>
            </p:cNvPr>
            <p:cNvGrpSpPr/>
            <p:nvPr/>
          </p:nvGrpSpPr>
          <p:grpSpPr>
            <a:xfrm>
              <a:off x="7007254" y="1799826"/>
              <a:ext cx="3478984" cy="1689710"/>
              <a:chOff x="12124791" y="3770786"/>
              <a:chExt cx="3478984" cy="1689710"/>
            </a:xfrm>
          </p:grpSpPr>
          <p:sp>
            <p:nvSpPr>
              <p:cNvPr id="13" name="Freeform 18">
                <a:extLst>
                  <a:ext uri="{FF2B5EF4-FFF2-40B4-BE49-F238E27FC236}">
                    <a16:creationId xmlns:a16="http://schemas.microsoft.com/office/drawing/2014/main" id="{F320728A-559E-41D0-B46E-D974BAD1C7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793" y="4118666"/>
                <a:ext cx="2841169" cy="1341829"/>
              </a:xfrm>
              <a:custGeom>
                <a:avLst/>
                <a:gdLst>
                  <a:gd name="G0" fmla="+- 1 0 0"/>
                  <a:gd name="G1" fmla="+- 1 0 0"/>
                  <a:gd name="G2" fmla="+- 1 0 0"/>
                  <a:gd name="G3" fmla="+- 1429 0 0"/>
                  <a:gd name="G4" fmla="+- 1 0 0"/>
                  <a:gd name="T0" fmla="*/ 106633 w 3023"/>
                  <a:gd name="T1" fmla="*/ 407523 h 1430"/>
                  <a:gd name="T2" fmla="*/ 1067050 w 3023"/>
                  <a:gd name="T3" fmla="*/ 0 h 1430"/>
                  <a:gd name="T4" fmla="*/ 1088665 w 3023"/>
                  <a:gd name="T5" fmla="*/ 52154 h 1430"/>
                  <a:gd name="T6" fmla="*/ 0 w 3023"/>
                  <a:gd name="T7" fmla="*/ 513990 h 1430"/>
                  <a:gd name="T8" fmla="*/ 106633 w 3023"/>
                  <a:gd name="T9" fmla="*/ 407523 h 1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23" h="1430">
                    <a:moveTo>
                      <a:pt x="296" y="1133"/>
                    </a:moveTo>
                    <a:lnTo>
                      <a:pt x="2962" y="0"/>
                    </a:lnTo>
                    <a:lnTo>
                      <a:pt x="3022" y="145"/>
                    </a:lnTo>
                    <a:lnTo>
                      <a:pt x="0" y="1429"/>
                    </a:lnTo>
                    <a:lnTo>
                      <a:pt x="296" y="1133"/>
                    </a:lnTo>
                  </a:path>
                </a:pathLst>
              </a:custGeom>
              <a:solidFill>
                <a:srgbClr val="515D5D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56" tIns="121878" rIns="243756" bIns="121878" anchor="ctr"/>
              <a:lstStyle/>
              <a:p>
                <a:endParaRPr lang="en-US" dirty="0">
                  <a:latin typeface="Calibri Light"/>
                </a:endParaRPr>
              </a:p>
            </p:txBody>
          </p:sp>
          <p:sp>
            <p:nvSpPr>
              <p:cNvPr id="14" name="Freeform 19">
                <a:extLst>
                  <a:ext uri="{FF2B5EF4-FFF2-40B4-BE49-F238E27FC236}">
                    <a16:creationId xmlns:a16="http://schemas.microsoft.com/office/drawing/2014/main" id="{304D3F4F-3559-4186-944B-71EBA9601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4791" y="4255333"/>
                <a:ext cx="2899153" cy="1205163"/>
              </a:xfrm>
              <a:custGeom>
                <a:avLst/>
                <a:gdLst>
                  <a:gd name="G0" fmla="+- 1 0 0"/>
                  <a:gd name="G1" fmla="*/ 1 0 0"/>
                  <a:gd name="G2" fmla="+- 1 0 0"/>
                  <a:gd name="G3" fmla="+- 1284 0 0"/>
                  <a:gd name="G4" fmla="+- 1 0 0"/>
                  <a:gd name="T0" fmla="*/ 150879 w 3086"/>
                  <a:gd name="T1" fmla="*/ 459087 h 1285"/>
                  <a:gd name="T2" fmla="*/ 1110890 w 3086"/>
                  <a:gd name="T3" fmla="*/ 51769 h 1285"/>
                  <a:gd name="T4" fmla="*/ 1088204 w 3086"/>
                  <a:gd name="T5" fmla="*/ 0 h 1285"/>
                  <a:gd name="T6" fmla="*/ 0 w 3086"/>
                  <a:gd name="T7" fmla="*/ 461603 h 1285"/>
                  <a:gd name="T8" fmla="*/ 150879 w 3086"/>
                  <a:gd name="T9" fmla="*/ 459087 h 1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6" h="1285">
                    <a:moveTo>
                      <a:pt x="419" y="1277"/>
                    </a:moveTo>
                    <a:lnTo>
                      <a:pt x="3085" y="144"/>
                    </a:lnTo>
                    <a:lnTo>
                      <a:pt x="3022" y="0"/>
                    </a:lnTo>
                    <a:lnTo>
                      <a:pt x="0" y="1284"/>
                    </a:lnTo>
                    <a:lnTo>
                      <a:pt x="419" y="1277"/>
                    </a:lnTo>
                  </a:path>
                </a:pathLst>
              </a:custGeom>
              <a:solidFill>
                <a:srgbClr val="828286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56" tIns="121878" rIns="243756" bIns="121878" anchor="ctr"/>
              <a:lstStyle/>
              <a:p>
                <a:endParaRPr lang="en-US" dirty="0">
                  <a:latin typeface="Calibri Light"/>
                </a:endParaRPr>
              </a:p>
            </p:txBody>
          </p:sp>
          <p:sp>
            <p:nvSpPr>
              <p:cNvPr id="15" name="Freeform 20">
                <a:extLst>
                  <a:ext uri="{FF2B5EF4-FFF2-40B4-BE49-F238E27FC236}">
                    <a16:creationId xmlns:a16="http://schemas.microsoft.com/office/drawing/2014/main" id="{B37D0D0A-79F8-482A-86CC-7B178BBC72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57926" y="4097957"/>
                <a:ext cx="2841169" cy="1341829"/>
              </a:xfrm>
              <a:custGeom>
                <a:avLst/>
                <a:gdLst>
                  <a:gd name="G0" fmla="+- 1 0 0"/>
                  <a:gd name="G1" fmla="+- 1 0 0"/>
                  <a:gd name="G2" fmla="+- 1 0 0"/>
                  <a:gd name="G3" fmla="+- 1429 0 0"/>
                  <a:gd name="G4" fmla="+- 1 0 0"/>
                  <a:gd name="T0" fmla="*/ 106527 w 3026"/>
                  <a:gd name="T1" fmla="*/ 407523 h 1430"/>
                  <a:gd name="T2" fmla="*/ 1066712 w 3026"/>
                  <a:gd name="T3" fmla="*/ 0 h 1430"/>
                  <a:gd name="T4" fmla="*/ 1088665 w 3026"/>
                  <a:gd name="T5" fmla="*/ 51795 h 1430"/>
                  <a:gd name="T6" fmla="*/ 0 w 3026"/>
                  <a:gd name="T7" fmla="*/ 513990 h 1430"/>
                  <a:gd name="T8" fmla="*/ 106527 w 3026"/>
                  <a:gd name="T9" fmla="*/ 407523 h 1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26" h="1430">
                    <a:moveTo>
                      <a:pt x="296" y="1133"/>
                    </a:moveTo>
                    <a:lnTo>
                      <a:pt x="2964" y="0"/>
                    </a:lnTo>
                    <a:lnTo>
                      <a:pt x="3025" y="144"/>
                    </a:lnTo>
                    <a:lnTo>
                      <a:pt x="0" y="1429"/>
                    </a:lnTo>
                    <a:lnTo>
                      <a:pt x="296" y="1133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56" tIns="121878" rIns="243756" bIns="121878" anchor="ctr"/>
              <a:lstStyle/>
              <a:p>
                <a:endParaRPr lang="en-US" dirty="0">
                  <a:latin typeface="Calibri Light"/>
                </a:endParaRPr>
              </a:p>
            </p:txBody>
          </p:sp>
          <p:sp>
            <p:nvSpPr>
              <p:cNvPr id="16" name="Freeform 21">
                <a:extLst>
                  <a:ext uri="{FF2B5EF4-FFF2-40B4-BE49-F238E27FC236}">
                    <a16:creationId xmlns:a16="http://schemas.microsoft.com/office/drawing/2014/main" id="{9E998346-9D1E-4215-9625-500CE755C2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57924" y="4234626"/>
                <a:ext cx="2899153" cy="1209302"/>
              </a:xfrm>
              <a:custGeom>
                <a:avLst/>
                <a:gdLst>
                  <a:gd name="G0" fmla="+- 1 0 0"/>
                  <a:gd name="G1" fmla="*/ 1 0 0"/>
                  <a:gd name="G2" fmla="+- 1 0 0"/>
                  <a:gd name="G3" fmla="+- 1285 0 0"/>
                  <a:gd name="G4" fmla="+- 1 0 0"/>
                  <a:gd name="T0" fmla="*/ 151093 w 3089"/>
                  <a:gd name="T1" fmla="*/ 460666 h 1286"/>
                  <a:gd name="T2" fmla="*/ 1110890 w 3089"/>
                  <a:gd name="T3" fmla="*/ 52267 h 1286"/>
                  <a:gd name="T4" fmla="*/ 1088226 w 3089"/>
                  <a:gd name="T5" fmla="*/ 0 h 1286"/>
                  <a:gd name="T6" fmla="*/ 0 w 3089"/>
                  <a:gd name="T7" fmla="*/ 463190 h 1286"/>
                  <a:gd name="T8" fmla="*/ 151093 w 3089"/>
                  <a:gd name="T9" fmla="*/ 46066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9" h="1286">
                    <a:moveTo>
                      <a:pt x="420" y="1278"/>
                    </a:moveTo>
                    <a:lnTo>
                      <a:pt x="3088" y="145"/>
                    </a:lnTo>
                    <a:lnTo>
                      <a:pt x="3025" y="0"/>
                    </a:lnTo>
                    <a:lnTo>
                      <a:pt x="0" y="1285"/>
                    </a:lnTo>
                    <a:lnTo>
                      <a:pt x="420" y="1278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56" tIns="121878" rIns="243756" bIns="121878" anchor="ctr"/>
              <a:lstStyle/>
              <a:p>
                <a:endParaRPr lang="en-US" dirty="0">
                  <a:latin typeface="Calibri Light"/>
                </a:endParaRPr>
              </a:p>
            </p:txBody>
          </p:sp>
          <p:sp>
            <p:nvSpPr>
              <p:cNvPr id="17" name="Freeform 22">
                <a:extLst>
                  <a:ext uri="{FF2B5EF4-FFF2-40B4-BE49-F238E27FC236}">
                    <a16:creationId xmlns:a16="http://schemas.microsoft.com/office/drawing/2014/main" id="{981E19DD-6D9E-45ED-B0A0-90B140DE4C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0081" y="3770786"/>
                <a:ext cx="820046" cy="604652"/>
              </a:xfrm>
              <a:custGeom>
                <a:avLst/>
                <a:gdLst>
                  <a:gd name="G0" fmla="+- 643 0 0"/>
                  <a:gd name="G1" fmla="+- 643 0 0"/>
                  <a:gd name="G2" fmla="+- 643 0 0"/>
                  <a:gd name="G3" fmla="+- 1 0 0"/>
                  <a:gd name="G4" fmla="+- 1 0 0"/>
                  <a:gd name="G5" fmla="+- 1 0 0"/>
                  <a:gd name="G6" fmla="+- 1 0 0"/>
                  <a:gd name="G7" fmla="+- 1 0 0"/>
                  <a:gd name="G8" fmla="+- 1 0 0"/>
                  <a:gd name="G9" fmla="+- 1 0 0"/>
                  <a:gd name="G10" fmla="+- 1 0 0"/>
                  <a:gd name="G11" fmla="+- 643 0 0"/>
                  <a:gd name="T0" fmla="*/ 0 w 875"/>
                  <a:gd name="T1" fmla="*/ 231415 h 644"/>
                  <a:gd name="T2" fmla="*/ 0 w 875"/>
                  <a:gd name="T3" fmla="*/ 231415 h 644"/>
                  <a:gd name="T4" fmla="*/ 116390 w 875"/>
                  <a:gd name="T5" fmla="*/ 84936 h 644"/>
                  <a:gd name="T6" fmla="*/ 313966 w 875"/>
                  <a:gd name="T7" fmla="*/ 0 h 644"/>
                  <a:gd name="T8" fmla="*/ 221644 w 875"/>
                  <a:gd name="T9" fmla="*/ 137841 h 644"/>
                  <a:gd name="T10" fmla="*/ 0 w 875"/>
                  <a:gd name="T11" fmla="*/ 231415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5" h="644">
                    <a:moveTo>
                      <a:pt x="0" y="643"/>
                    </a:moveTo>
                    <a:lnTo>
                      <a:pt x="0" y="643"/>
                    </a:lnTo>
                    <a:cubicBezTo>
                      <a:pt x="0" y="643"/>
                      <a:pt x="58" y="347"/>
                      <a:pt x="324" y="236"/>
                    </a:cubicBezTo>
                    <a:cubicBezTo>
                      <a:pt x="589" y="122"/>
                      <a:pt x="874" y="0"/>
                      <a:pt x="874" y="0"/>
                    </a:cubicBezTo>
                    <a:cubicBezTo>
                      <a:pt x="617" y="383"/>
                      <a:pt x="617" y="383"/>
                      <a:pt x="617" y="383"/>
                    </a:cubicBezTo>
                    <a:lnTo>
                      <a:pt x="0" y="643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56" tIns="121878" rIns="243756" bIns="121878" anchor="ctr"/>
              <a:lstStyle/>
              <a:p>
                <a:endParaRPr lang="en-US" dirty="0">
                  <a:latin typeface="Calibri Light"/>
                </a:endParaRPr>
              </a:p>
            </p:txBody>
          </p:sp>
          <p:sp>
            <p:nvSpPr>
              <p:cNvPr id="18" name="Freeform 23">
                <a:extLst>
                  <a:ext uri="{FF2B5EF4-FFF2-40B4-BE49-F238E27FC236}">
                    <a16:creationId xmlns:a16="http://schemas.microsoft.com/office/drawing/2014/main" id="{FE7D95D4-CC90-4801-AA1F-4E2E6E7BBB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97357" y="4218063"/>
                <a:ext cx="1006418" cy="401719"/>
              </a:xfrm>
              <a:custGeom>
                <a:avLst/>
                <a:gdLst>
                  <a:gd name="G0" fmla="+- 263 0 0"/>
                  <a:gd name="G1" fmla="+- 263 0 0"/>
                  <a:gd name="G2" fmla="+- 263 0 0"/>
                  <a:gd name="G3" fmla="+- 1 0 0"/>
                  <a:gd name="G4" fmla="*/ 1 35987 45568"/>
                  <a:gd name="G5" fmla="*/ 1 35987 55552"/>
                  <a:gd name="G6" fmla="*/ G5 1 180"/>
                  <a:gd name="G7" fmla="*/ G4 1 G6"/>
                  <a:gd name="G8" fmla="+- 1 0 0"/>
                  <a:gd name="G9" fmla="+- 1 0 0"/>
                  <a:gd name="G10" fmla="+- 1 0 0"/>
                  <a:gd name="G11" fmla="+- 1 0 0"/>
                  <a:gd name="G12" fmla="+- 1 0 0"/>
                  <a:gd name="G13" fmla="+- 1 0 0"/>
                  <a:gd name="G14" fmla="+- 263 0 0"/>
                  <a:gd name="T0" fmla="*/ 0 w 1071"/>
                  <a:gd name="T1" fmla="*/ 94844 h 427"/>
                  <a:gd name="T2" fmla="*/ 0 w 1071"/>
                  <a:gd name="T3" fmla="*/ 94844 h 427"/>
                  <a:gd name="T4" fmla="*/ 187298 w 1071"/>
                  <a:gd name="T5" fmla="*/ 113236 h 427"/>
                  <a:gd name="T6" fmla="*/ 385402 w 1071"/>
                  <a:gd name="T7" fmla="*/ 28489 h 427"/>
                  <a:gd name="T8" fmla="*/ 223317 w 1071"/>
                  <a:gd name="T9" fmla="*/ 0 h 427"/>
                  <a:gd name="T10" fmla="*/ 0 w 1071"/>
                  <a:gd name="T11" fmla="*/ 94844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1" h="427">
                    <a:moveTo>
                      <a:pt x="0" y="263"/>
                    </a:moveTo>
                    <a:lnTo>
                      <a:pt x="0" y="263"/>
                    </a:lnTo>
                    <a:cubicBezTo>
                      <a:pt x="0" y="263"/>
                      <a:pt x="254" y="426"/>
                      <a:pt x="520" y="314"/>
                    </a:cubicBezTo>
                    <a:cubicBezTo>
                      <a:pt x="786" y="200"/>
                      <a:pt x="1070" y="79"/>
                      <a:pt x="1070" y="79"/>
                    </a:cubicBezTo>
                    <a:cubicBezTo>
                      <a:pt x="620" y="0"/>
                      <a:pt x="620" y="0"/>
                      <a:pt x="620" y="0"/>
                    </a:cubicBezTo>
                    <a:lnTo>
                      <a:pt x="0" y="263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56" tIns="121878" rIns="243756" bIns="121878" anchor="ctr"/>
              <a:lstStyle/>
              <a:p>
                <a:endParaRPr lang="en-US" dirty="0">
                  <a:latin typeface="Calibri Light"/>
                </a:endParaRPr>
              </a:p>
            </p:txBody>
          </p:sp>
        </p:grpSp>
      </p:grp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1403648" y="1347788"/>
            <a:ext cx="7345066" cy="3059905"/>
          </a:xfrm>
        </p:spPr>
        <p:txBody>
          <a:bodyPr>
            <a:normAutofit/>
          </a:bodyPr>
          <a:lstStyle>
            <a:lvl1pPr marL="358775" indent="-358775">
              <a:lnSpc>
                <a:spcPct val="200000"/>
              </a:lnSpc>
              <a:spcBef>
                <a:spcPts val="0"/>
              </a:spcBef>
              <a:buSzPct val="125000"/>
              <a:buFont typeface="Wingdings" pitchFamily="2" charset="2"/>
              <a:buChar char="Ø"/>
              <a:defRPr sz="1600" b="1"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Auf der gleichen Seite des Rechtecks liegende Ecken abrunden 7"/>
          <p:cNvSpPr/>
          <p:nvPr userDrawn="1"/>
        </p:nvSpPr>
        <p:spPr>
          <a:xfrm>
            <a:off x="395289" y="1347789"/>
            <a:ext cx="720327" cy="2808138"/>
          </a:xfrm>
          <a:prstGeom prst="round2SameRect">
            <a:avLst>
              <a:gd name="adj1" fmla="val 0"/>
              <a:gd name="adj2" fmla="val 42062"/>
            </a:avLst>
          </a:prstGeom>
          <a:gradFill flip="none" rotWithShape="0"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361950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71755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Areas (to be rework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ontent Areas (to be rework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sz="half" idx="1"/>
          </p:nvPr>
        </p:nvSpPr>
        <p:spPr>
          <a:xfrm>
            <a:off x="395290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2"/>
          </p:nvPr>
        </p:nvSpPr>
        <p:spPr>
          <a:xfrm>
            <a:off x="4606928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sz="half" idx="13"/>
          </p:nvPr>
        </p:nvSpPr>
        <p:spPr>
          <a:xfrm>
            <a:off x="395290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half" idx="14"/>
          </p:nvPr>
        </p:nvSpPr>
        <p:spPr>
          <a:xfrm>
            <a:off x="4606927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9" y="2210400"/>
            <a:ext cx="8353425" cy="7207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859782"/>
            <a:ext cx="8353425" cy="935930"/>
          </a:xfrm>
        </p:spPr>
        <p:txBody>
          <a:bodyPr/>
          <a:lstStyle>
            <a:lvl1pPr marL="0" indent="0">
              <a:buSzPct val="125000"/>
              <a:buFontTx/>
              <a:buNone/>
              <a:defRPr>
                <a:solidFill>
                  <a:schemeClr val="bg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5" name="Rechteck 4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6" name="Rechteck 5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375;MIO_UPDATE=True;MIO_VERSION=30.11.2012 11:40:1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0" rIns="91440" bIns="0" rtlCol="0" anchor="t" anchorCtr="0">
            <a:norm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600000" y="4665239"/>
            <a:ext cx="1944000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ctr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, Internal usage ONLY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600000" y="4561587"/>
            <a:ext cx="1944000" cy="103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ADAS China Engineering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17"/>
            </p:custDataLst>
          </p:nvPr>
        </p:nvSpPr>
        <p:spPr>
          <a:xfrm>
            <a:off x="-1270000" y="-952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" name="Text Box 23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804464" y="4665600"/>
            <a:ext cx="1944000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/>
            <a:r>
              <a:rPr lang="en-US" sz="700" dirty="0"/>
              <a:t>slide </a:t>
            </a:r>
            <a:fld id="{ADA48181-2C78-49CB-8C52-912A07842C2E}" type="slidenum">
              <a:rPr lang="en-US" sz="700" smtClean="0"/>
              <a:pPr algn="r"/>
              <a:t>‹#›</a:t>
            </a:fld>
            <a:endParaRPr lang="en-US" sz="700" dirty="0"/>
          </a:p>
        </p:txBody>
      </p:sp>
      <p:sp>
        <p:nvSpPr>
          <p:cNvPr id="16" name="Text Box 23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804464" y="4561200"/>
            <a:ext cx="1944000" cy="103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r"/>
            <a:r>
              <a:rPr lang="en-US" sz="700" dirty="0"/>
              <a:t>[Name of author], </a:t>
            </a:r>
            <a:fld id="{142581FF-0622-4251-AF4F-5B20E56D7463}" type="datetime1">
              <a:rPr lang="en-US" sz="700" smtClean="0"/>
              <a:t>3/15/2021</a:t>
            </a:fld>
            <a:r>
              <a:rPr lang="en-US" sz="7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73" r:id="rId2"/>
    <p:sldLayoutId id="2147483697" r:id="rId3"/>
    <p:sldLayoutId id="2147483692" r:id="rId4"/>
    <p:sldLayoutId id="2147483675" r:id="rId5"/>
    <p:sldLayoutId id="2147483685" r:id="rId6"/>
    <p:sldLayoutId id="2147483687" r:id="rId7"/>
    <p:sldLayoutId id="2147483688" r:id="rId8"/>
    <p:sldLayoutId id="2147483701" r:id="rId9"/>
    <p:sldLayoutId id="2147483674" r:id="rId10"/>
    <p:sldLayoutId id="2147483702" r:id="rId11"/>
    <p:sldLayoutId id="2147483703" r:id="rId12"/>
    <p:sldLayoutId id="2147483704" r:id="rId13"/>
  </p:sldLayoutIdLst>
  <p:transition>
    <p:fade/>
  </p:transition>
  <p:hf sldNum="0"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20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61950" indent="-18415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3975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17550" indent="-1778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14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hyperlink" Target="https://www.wjx.cn/jq/42915896.aspx" TargetMode="Externa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DAS Engineering China Training</a:t>
            </a:r>
          </a:p>
        </p:txBody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[</a:t>
            </a:r>
            <a:r>
              <a:rPr lang="en-US" altLang="zh-CN" dirty="0"/>
              <a:t>L2 MFC Sense Function – HLA and TSA</a:t>
            </a:r>
            <a:r>
              <a:rPr lang="en-US" dirty="0"/>
              <a:t>]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2556593" cy="13104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03239" y="4443958"/>
            <a:ext cx="5075797" cy="368813"/>
          </a:xfrm>
        </p:spPr>
        <p:txBody>
          <a:bodyPr>
            <a:normAutofit/>
          </a:bodyPr>
          <a:lstStyle/>
          <a:p>
            <a:pPr algn="l"/>
            <a:r>
              <a:rPr lang="en-US" sz="800" noProof="0" dirty="0"/>
              <a:t>Chassis &amp; Safety | Advanced Driver Assistance Systems</a:t>
            </a:r>
          </a:p>
        </p:txBody>
      </p:sp>
      <p:pic>
        <p:nvPicPr>
          <p:cNvPr id="15" name="Picture 11" descr="SensePlanAct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185390" y="4595206"/>
            <a:ext cx="1189181" cy="280800"/>
          </a:xfrm>
          <a:prstGeom prst="rect">
            <a:avLst/>
          </a:prstGeom>
        </p:spPr>
      </p:pic>
      <p:pic>
        <p:nvPicPr>
          <p:cNvPr id="16" name="Grafik 15" descr="conti_senseplanact_Poster_xs_v25.png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3704" y="4155926"/>
            <a:ext cx="8748000" cy="56737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表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3634012"/>
              </p:ext>
            </p:extLst>
          </p:nvPr>
        </p:nvGraphicFramePr>
        <p:xfrm>
          <a:off x="1440180" y="3406990"/>
          <a:ext cx="3078350" cy="800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78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180</a:t>
                      </a:r>
                    </a:p>
                  </a:txBody>
                  <a:tcPr marL="68580" marR="68580" marT="34290" marB="34290">
                    <a:solidFill>
                      <a:schemeClr val="tx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30</a:t>
                      </a: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255</a:t>
                      </a:r>
                    </a:p>
                  </a:txBody>
                  <a:tcPr marL="68580" marR="68580"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5" name="タイトル 1"/>
          <p:cNvSpPr>
            <a:spLocks noGrp="1"/>
          </p:cNvSpPr>
          <p:nvPr>
            <p:ph type="title"/>
          </p:nvPr>
        </p:nvSpPr>
        <p:spPr>
          <a:xfrm>
            <a:off x="533400" y="215465"/>
            <a:ext cx="6903243" cy="486053"/>
          </a:xfrm>
        </p:spPr>
        <p:txBody>
          <a:bodyPr/>
          <a:lstStyle/>
          <a:p>
            <a:r>
              <a:rPr kumimoji="1" lang="en-US" altLang="ja-JP" dirty="0"/>
              <a:t>Detail</a:t>
            </a:r>
            <a:r>
              <a:rPr kumimoji="1" lang="en-US" dirty="0"/>
              <a:t> of Segmentation (3/3)</a:t>
            </a:r>
          </a:p>
        </p:txBody>
      </p:sp>
      <p:sp>
        <p:nvSpPr>
          <p:cNvPr id="16" name="コンテンツ プレースホルダ 2"/>
          <p:cNvSpPr>
            <a:spLocks noGrp="1"/>
          </p:cNvSpPr>
          <p:nvPr>
            <p:ph idx="1"/>
          </p:nvPr>
        </p:nvSpPr>
        <p:spPr>
          <a:xfrm>
            <a:off x="533400" y="735808"/>
            <a:ext cx="7301866" cy="630077"/>
          </a:xfrm>
        </p:spPr>
        <p:txBody>
          <a:bodyPr>
            <a:normAutofit fontScale="92500" lnSpcReduction="20000"/>
          </a:bodyPr>
          <a:lstStyle/>
          <a:p>
            <a:r>
              <a:rPr kumimoji="1" lang="en-US" dirty="0"/>
              <a:t>Convert lines to region: </a:t>
            </a:r>
          </a:p>
          <a:p>
            <a:pPr lvl="1"/>
            <a:r>
              <a:rPr kumimoji="1" lang="en-US" dirty="0"/>
              <a:t>Look rows to find the place of light objects.</a:t>
            </a:r>
          </a:p>
          <a:p>
            <a:pPr lvl="1"/>
            <a:endParaRPr kumimoji="1" lang="en-US" dirty="0"/>
          </a:p>
          <a:p>
            <a:pPr lvl="1"/>
            <a:endParaRPr kumimoji="1" lang="en-US" dirty="0"/>
          </a:p>
        </p:txBody>
      </p:sp>
      <p:graphicFrame>
        <p:nvGraphicFramePr>
          <p:cNvPr id="31" name="表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6984681"/>
              </p:ext>
            </p:extLst>
          </p:nvPr>
        </p:nvGraphicFramePr>
        <p:xfrm>
          <a:off x="1440180" y="1569599"/>
          <a:ext cx="3078350" cy="800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78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30</a:t>
                      </a: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180</a:t>
                      </a:r>
                    </a:p>
                  </a:txBody>
                  <a:tcPr marL="68580" marR="68580" marT="34290" marB="34290">
                    <a:solidFill>
                      <a:schemeClr val="tx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30</a:t>
                      </a: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255</a:t>
                      </a:r>
                    </a:p>
                  </a:txBody>
                  <a:tcPr marL="68580" marR="68580"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120</a:t>
                      </a:r>
                    </a:p>
                  </a:txBody>
                  <a:tcPr marL="68580" marR="68580" marT="34290" marB="3429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3" name="正方形/長方形 32"/>
          <p:cNvSpPr/>
          <p:nvPr/>
        </p:nvSpPr>
        <p:spPr>
          <a:xfrm>
            <a:off x="3594735" y="1573595"/>
            <a:ext cx="305157" cy="8001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0" name="テキスト ボックス 49"/>
          <p:cNvSpPr txBox="1"/>
          <p:nvPr/>
        </p:nvSpPr>
        <p:spPr>
          <a:xfrm>
            <a:off x="1385292" y="1367855"/>
            <a:ext cx="197361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sz="1050" dirty="0"/>
              <a:t>Intensity </a:t>
            </a:r>
            <a:r>
              <a:rPr kumimoji="1" lang="en-US" sz="750" dirty="0"/>
              <a:t>(blanks are </a:t>
            </a:r>
            <a:r>
              <a:rPr lang="en-US" sz="750" dirty="0"/>
              <a:t>out of calculation)</a:t>
            </a:r>
            <a:endParaRPr kumimoji="1" lang="en-US" sz="750" dirty="0"/>
          </a:p>
        </p:txBody>
      </p:sp>
      <p:sp>
        <p:nvSpPr>
          <p:cNvPr id="61" name="コンテンツ プレースホルダ 2"/>
          <p:cNvSpPr txBox="1">
            <a:spLocks/>
          </p:cNvSpPr>
          <p:nvPr/>
        </p:nvSpPr>
        <p:spPr>
          <a:xfrm>
            <a:off x="550545" y="2484598"/>
            <a:ext cx="7301866" cy="801527"/>
          </a:xfrm>
          <a:prstGeom prst="rect">
            <a:avLst/>
          </a:prstGeom>
        </p:spPr>
        <p:txBody>
          <a:bodyPr vert="horz" lIns="0" tIns="13500" rIns="0" bIns="13500" rtlCol="0">
            <a:normAutofit lnSpcReduction="10000"/>
          </a:bodyPr>
          <a:lstStyle/>
          <a:p>
            <a:pPr marL="133350" indent="-133350" defTabSz="68580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  <a:defRPr/>
            </a:pPr>
            <a:r>
              <a:rPr kumimoji="1" lang="en-US" sz="1200" dirty="0">
                <a:cs typeface="Arial" pitchFamily="34" charset="0"/>
              </a:rPr>
              <a:t>Create light object list:</a:t>
            </a:r>
          </a:p>
          <a:p>
            <a:pPr marL="476250" lvl="1" indent="-13335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  <a:defRPr/>
            </a:pPr>
            <a:r>
              <a:rPr lang="en-US" sz="1200" dirty="0">
                <a:cs typeface="Arial" pitchFamily="34" charset="0"/>
              </a:rPr>
              <a:t>Light object list is separated for each level</a:t>
            </a:r>
          </a:p>
          <a:p>
            <a:pPr marL="476250" lvl="1" indent="-13335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  <a:defRPr/>
            </a:pPr>
            <a:r>
              <a:rPr lang="en-US" sz="1200" dirty="0">
                <a:cs typeface="Arial" pitchFamily="34" charset="0"/>
              </a:rPr>
              <a:t>One region will be one light object</a:t>
            </a:r>
            <a:r>
              <a:rPr kumimoji="1" lang="en-US" sz="1200" dirty="0">
                <a:cs typeface="Arial" pitchFamily="34" charset="0"/>
              </a:rPr>
              <a:t> </a:t>
            </a:r>
          </a:p>
        </p:txBody>
      </p:sp>
      <p:sp>
        <p:nvSpPr>
          <p:cNvPr id="65" name="テキスト ボックス 64"/>
          <p:cNvSpPr txBox="1"/>
          <p:nvPr/>
        </p:nvSpPr>
        <p:spPr>
          <a:xfrm>
            <a:off x="1391007" y="3205246"/>
            <a:ext cx="197361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sz="1050" dirty="0"/>
              <a:t>Intensity </a:t>
            </a:r>
            <a:r>
              <a:rPr kumimoji="1" lang="en-US" sz="750" dirty="0"/>
              <a:t>(blanks are </a:t>
            </a:r>
            <a:r>
              <a:rPr lang="en-US" sz="750" dirty="0"/>
              <a:t>out of calculation)</a:t>
            </a:r>
            <a:endParaRPr kumimoji="1" lang="en-US" sz="750" dirty="0"/>
          </a:p>
        </p:txBody>
      </p:sp>
      <p:graphicFrame>
        <p:nvGraphicFramePr>
          <p:cNvPr id="18" name="表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9721383"/>
              </p:ext>
            </p:extLst>
          </p:nvPr>
        </p:nvGraphicFramePr>
        <p:xfrm>
          <a:off x="4976803" y="3269618"/>
          <a:ext cx="1089102" cy="9815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4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45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r>
                        <a:rPr lang="en-US" sz="600" dirty="0"/>
                        <a:t>LV1</a:t>
                      </a:r>
                    </a:p>
                  </a:txBody>
                  <a:tcPr marL="68580" marR="68580" marT="34290" marB="3429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0751">
                <a:tc>
                  <a:txBody>
                    <a:bodyPr/>
                    <a:lstStyle/>
                    <a:p>
                      <a:r>
                        <a:rPr lang="en-US" sz="600" dirty="0"/>
                        <a:t>3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(6,1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0751">
                <a:tc>
                  <a:txBody>
                    <a:bodyPr/>
                    <a:lstStyle/>
                    <a:p>
                      <a:r>
                        <a:rPr lang="en-US" sz="600" dirty="0"/>
                        <a:t>LV2</a:t>
                      </a:r>
                    </a:p>
                  </a:txBody>
                  <a:tcPr marL="68580" marR="68580" marT="34290" marB="3429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en-US" sz="600" dirty="0"/>
                        <a:t>Lv3</a:t>
                      </a:r>
                    </a:p>
                  </a:txBody>
                  <a:tcPr marL="68580" marR="68580" marT="34290" marB="3429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en-US" sz="600" dirty="0"/>
                        <a:t>18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(2,1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en-US" sz="600" dirty="0"/>
                        <a:t>25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(7,2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9" name="テキスト ボックス 18"/>
          <p:cNvSpPr txBox="1"/>
          <p:nvPr/>
        </p:nvSpPr>
        <p:spPr>
          <a:xfrm>
            <a:off x="4975807" y="3027334"/>
            <a:ext cx="6142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sz="900" dirty="0"/>
              <a:t>Intensity</a:t>
            </a:r>
          </a:p>
        </p:txBody>
      </p:sp>
      <p:sp>
        <p:nvSpPr>
          <p:cNvPr id="20" name="テキスト ボックス 19"/>
          <p:cNvSpPr txBox="1"/>
          <p:nvPr/>
        </p:nvSpPr>
        <p:spPr>
          <a:xfrm>
            <a:off x="5482146" y="3033744"/>
            <a:ext cx="59503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Position</a:t>
            </a:r>
            <a:endParaRPr kumimoji="1" lang="en-US" sz="900" dirty="0"/>
          </a:p>
        </p:txBody>
      </p:sp>
      <p:cxnSp>
        <p:nvCxnSpPr>
          <p:cNvPr id="22" name="直線矢印コネクタ 21"/>
          <p:cNvCxnSpPr/>
          <p:nvPr/>
        </p:nvCxnSpPr>
        <p:spPr>
          <a:xfrm>
            <a:off x="3544996" y="3673876"/>
            <a:ext cx="114866" cy="114300"/>
          </a:xfrm>
          <a:prstGeom prst="straightConnector1">
            <a:avLst/>
          </a:prstGeom>
          <a:ln w="1270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表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930852"/>
              </p:ext>
            </p:extLst>
          </p:nvPr>
        </p:nvGraphicFramePr>
        <p:xfrm>
          <a:off x="4609389" y="1308806"/>
          <a:ext cx="2102284" cy="1083753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204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02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14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43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057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1460">
                <a:tc>
                  <a:txBody>
                    <a:bodyPr/>
                    <a:lstStyle/>
                    <a:p>
                      <a:r>
                        <a:rPr lang="en-US" sz="600" dirty="0"/>
                        <a:t>Maxima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Maxima</a:t>
                      </a:r>
                    </a:p>
                    <a:p>
                      <a:r>
                        <a:rPr lang="en-US" sz="600" dirty="0"/>
                        <a:t>Positi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L1 - length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L2</a:t>
                      </a:r>
                      <a:r>
                        <a:rPr lang="en-US" altLang="ja-JP" sz="600" dirty="0"/>
                        <a:t>- length</a:t>
                      </a:r>
                      <a:endParaRPr lang="en-US" sz="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L3</a:t>
                      </a:r>
                      <a:r>
                        <a:rPr lang="en-US" altLang="ja-JP" sz="600" dirty="0"/>
                        <a:t>- length</a:t>
                      </a:r>
                      <a:endParaRPr lang="en-US" sz="6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en-US" sz="600" dirty="0"/>
                        <a:t>3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[2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0751">
                <a:tc>
                  <a:txBody>
                    <a:bodyPr/>
                    <a:lstStyle/>
                    <a:p>
                      <a:r>
                        <a:rPr lang="en-US" sz="600" dirty="0"/>
                        <a:t>180,3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[2],[6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2,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1,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0751">
                <a:tc>
                  <a:txBody>
                    <a:bodyPr/>
                    <a:lstStyle/>
                    <a:p>
                      <a:r>
                        <a:rPr lang="en-US" sz="600" dirty="0"/>
                        <a:t>30,</a:t>
                      </a:r>
                      <a:r>
                        <a:rPr lang="en-US" sz="600" b="1" u="sng" dirty="0"/>
                        <a:t>25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[2],</a:t>
                      </a:r>
                      <a:r>
                        <a:rPr lang="en-US" sz="600" b="1" u="sng" dirty="0"/>
                        <a:t>[7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1,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0,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0,</a:t>
                      </a:r>
                      <a:r>
                        <a:rPr lang="en-US" sz="600" b="1" u="sng" dirty="0"/>
                        <a:t>2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0751">
                <a:tc>
                  <a:txBody>
                    <a:bodyPr/>
                    <a:lstStyle/>
                    <a:p>
                      <a:r>
                        <a:rPr lang="en-US" sz="600" b="1" u="sng" dirty="0"/>
                        <a:t>12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b="1" u="sng" dirty="0"/>
                        <a:t>[7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b="1" u="sng" dirty="0"/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en-US" sz="600" dirty="0"/>
                        <a:t>3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[6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B1B6C7-BA84-4C23-A164-0068522565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890" y="257459"/>
            <a:ext cx="6903243" cy="486053"/>
          </a:xfrm>
        </p:spPr>
        <p:txBody>
          <a:bodyPr/>
          <a:lstStyle/>
          <a:p>
            <a:r>
              <a:rPr lang="en-US" altLang="zh-CN" dirty="0"/>
              <a:t>LSD</a:t>
            </a:r>
            <a:r>
              <a:rPr lang="en-US" dirty="0"/>
              <a:t>: Track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7713217-88A0-4F8F-8A49-7D6E00CA8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890" y="735808"/>
            <a:ext cx="7377733" cy="3671888"/>
          </a:xfrm>
        </p:spPr>
        <p:txBody>
          <a:bodyPr/>
          <a:lstStyle/>
          <a:p>
            <a:r>
              <a:rPr lang="en-US" altLang="ja-JP" sz="1050" dirty="0">
                <a:ea typeface="ＭＳ Ｐゴシック" pitchFamily="34" charset="-128"/>
              </a:rPr>
              <a:t>The tracking is “observing” the behavior of light objects over time.</a:t>
            </a:r>
          </a:p>
          <a:p>
            <a:r>
              <a:rPr lang="en-US" altLang="ja-JP" sz="1050" dirty="0">
                <a:ea typeface="ＭＳ Ｐゴシック" pitchFamily="34" charset="-128"/>
              </a:rPr>
              <a:t>Each detected light object is associated with a single light track, based on previous track information.</a:t>
            </a:r>
          </a:p>
          <a:p>
            <a:r>
              <a:rPr lang="en-US" altLang="ja-JP" sz="1050" dirty="0">
                <a:ea typeface="ＭＳ Ｐゴシック" pitchFamily="34" charset="-128"/>
              </a:rPr>
              <a:t>Light objects without association create new light tracks.</a:t>
            </a:r>
          </a:p>
          <a:p>
            <a:r>
              <a:rPr lang="en-US" altLang="ja-JP" sz="1050" dirty="0">
                <a:ea typeface="ＭＳ Ｐゴシック" pitchFamily="34" charset="-128"/>
              </a:rPr>
              <a:t>The output of the tracking are light tracks, with following information</a:t>
            </a:r>
          </a:p>
          <a:p>
            <a:pPr lvl="1"/>
            <a:r>
              <a:rPr lang="en-US" altLang="ja-JP" sz="1050" dirty="0">
                <a:solidFill>
                  <a:srgbClr val="000000"/>
                </a:solidFill>
                <a:ea typeface="ＭＳ Ｐゴシック" pitchFamily="34" charset="-128"/>
              </a:rPr>
              <a:t>Light object information</a:t>
            </a:r>
          </a:p>
          <a:p>
            <a:pPr lvl="1"/>
            <a:r>
              <a:rPr lang="en-US" altLang="ja-JP" sz="1050" dirty="0">
                <a:solidFill>
                  <a:srgbClr val="000000"/>
                </a:solidFill>
                <a:ea typeface="ＭＳ Ｐゴシック" pitchFamily="34" charset="-128"/>
              </a:rPr>
              <a:t>3D-Position (distance)</a:t>
            </a:r>
          </a:p>
          <a:p>
            <a:pPr lvl="1"/>
            <a:r>
              <a:rPr lang="en-US" altLang="ja-JP" sz="1050" dirty="0">
                <a:solidFill>
                  <a:srgbClr val="000000"/>
                </a:solidFill>
                <a:ea typeface="ＭＳ Ｐゴシック" pitchFamily="34" charset="-128"/>
              </a:rPr>
              <a:t>Motion (2D/3D)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8405FADE-8993-4FB3-91BE-B38FE7D8A01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83509954"/>
              </p:ext>
            </p:extLst>
          </p:nvPr>
        </p:nvGraphicFramePr>
        <p:xfrm>
          <a:off x="4923044" y="1657350"/>
          <a:ext cx="3216689" cy="2465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Visio" r:id="rId4" imgW="3534728" imgH="3289554" progId="">
                  <p:embed/>
                </p:oleObj>
              </mc:Choice>
              <mc:Fallback>
                <p:oleObj name="Visio" r:id="rId4" imgW="3534728" imgH="3289554" progId="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8405FADE-8993-4FB3-91BE-B38FE7D8A01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2740" t="8594" r="3133" b="10313"/>
                      <a:stretch>
                        <a:fillRect/>
                      </a:stretch>
                    </p:blipFill>
                    <p:spPr bwMode="auto">
                      <a:xfrm>
                        <a:off x="4923044" y="1657350"/>
                        <a:ext cx="3216689" cy="246578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832712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タイトル 1"/>
          <p:cNvSpPr>
            <a:spLocks noGrp="1"/>
          </p:cNvSpPr>
          <p:nvPr>
            <p:ph type="title"/>
          </p:nvPr>
        </p:nvSpPr>
        <p:spPr>
          <a:xfrm>
            <a:off x="533400" y="186927"/>
            <a:ext cx="6903243" cy="486053"/>
          </a:xfrm>
        </p:spPr>
        <p:txBody>
          <a:bodyPr/>
          <a:lstStyle/>
          <a:p>
            <a:r>
              <a:rPr kumimoji="1" lang="en-US" altLang="ja-JP" dirty="0"/>
              <a:t>Detail</a:t>
            </a:r>
            <a:r>
              <a:rPr kumimoji="1" lang="en-US" dirty="0"/>
              <a:t> of Tracking</a:t>
            </a:r>
          </a:p>
        </p:txBody>
      </p:sp>
      <p:sp>
        <p:nvSpPr>
          <p:cNvPr id="12" name="コンテンツ プレースホルダ 2"/>
          <p:cNvSpPr>
            <a:spLocks noGrp="1"/>
          </p:cNvSpPr>
          <p:nvPr>
            <p:ph idx="1"/>
          </p:nvPr>
        </p:nvSpPr>
        <p:spPr>
          <a:xfrm>
            <a:off x="533401" y="735807"/>
            <a:ext cx="7483090" cy="552472"/>
          </a:xfrm>
        </p:spPr>
        <p:txBody>
          <a:bodyPr>
            <a:normAutofit fontScale="85000" lnSpcReduction="20000"/>
          </a:bodyPr>
          <a:lstStyle/>
          <a:p>
            <a:r>
              <a:rPr kumimoji="1" lang="en-US" dirty="0"/>
              <a:t>Track each light objects over time</a:t>
            </a:r>
          </a:p>
          <a:p>
            <a:pPr lvl="1"/>
            <a:r>
              <a:rPr kumimoji="1" lang="en-US" dirty="0"/>
              <a:t>Simple flowchart</a:t>
            </a:r>
          </a:p>
        </p:txBody>
      </p:sp>
      <p:sp>
        <p:nvSpPr>
          <p:cNvPr id="13" name="正方形/長方形 12"/>
          <p:cNvSpPr/>
          <p:nvPr/>
        </p:nvSpPr>
        <p:spPr>
          <a:xfrm>
            <a:off x="685800" y="1706490"/>
            <a:ext cx="1147273" cy="230737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en-US" sz="788" dirty="0">
                <a:solidFill>
                  <a:schemeClr val="bg2">
                    <a:lumMod val="10000"/>
                  </a:schemeClr>
                </a:solidFill>
              </a:rPr>
              <a:t>Predict tracks</a:t>
            </a:r>
          </a:p>
        </p:txBody>
      </p:sp>
      <p:sp>
        <p:nvSpPr>
          <p:cNvPr id="14" name="正方形/長方形 13"/>
          <p:cNvSpPr/>
          <p:nvPr/>
        </p:nvSpPr>
        <p:spPr>
          <a:xfrm>
            <a:off x="685800" y="2167962"/>
            <a:ext cx="1147273" cy="230737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en-US" sz="788" dirty="0">
                <a:solidFill>
                  <a:schemeClr val="bg2">
                    <a:lumMod val="10000"/>
                  </a:schemeClr>
                </a:solidFill>
              </a:rPr>
              <a:t>Associate tracks </a:t>
            </a:r>
          </a:p>
          <a:p>
            <a:pPr algn="ctr"/>
            <a:r>
              <a:rPr lang="en-US" sz="788" dirty="0">
                <a:solidFill>
                  <a:schemeClr val="bg2">
                    <a:lumMod val="10000"/>
                  </a:schemeClr>
                </a:solidFill>
              </a:rPr>
              <a:t>to lights</a:t>
            </a:r>
            <a:endParaRPr kumimoji="1" lang="en-US" sz="788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" name="正方形/長方形 14"/>
          <p:cNvSpPr/>
          <p:nvPr/>
        </p:nvSpPr>
        <p:spPr>
          <a:xfrm>
            <a:off x="685800" y="2571750"/>
            <a:ext cx="1147273" cy="230737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en-US" sz="788" dirty="0">
                <a:solidFill>
                  <a:schemeClr val="bg2">
                    <a:lumMod val="10000"/>
                  </a:schemeClr>
                </a:solidFill>
              </a:rPr>
              <a:t>Update track </a:t>
            </a:r>
            <a:r>
              <a:rPr kumimoji="1" lang="en-US" sz="788" dirty="0" err="1">
                <a:solidFill>
                  <a:schemeClr val="bg2">
                    <a:lumMod val="10000"/>
                  </a:schemeClr>
                </a:solidFill>
              </a:rPr>
              <a:t>infos</a:t>
            </a:r>
            <a:endParaRPr kumimoji="1" lang="en-US" sz="788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685800" y="2994766"/>
            <a:ext cx="1147273" cy="230737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en-US" sz="788" dirty="0">
                <a:solidFill>
                  <a:schemeClr val="bg2">
                    <a:lumMod val="10000"/>
                  </a:schemeClr>
                </a:solidFill>
              </a:rPr>
              <a:t>Add new track</a:t>
            </a:r>
          </a:p>
        </p:txBody>
      </p:sp>
      <p:cxnSp>
        <p:nvCxnSpPr>
          <p:cNvPr id="18" name="直線矢印コネクタ 17"/>
          <p:cNvCxnSpPr>
            <a:cxnSpLocks/>
            <a:endCxn id="13" idx="0"/>
          </p:cNvCxnSpPr>
          <p:nvPr/>
        </p:nvCxnSpPr>
        <p:spPr>
          <a:xfrm>
            <a:off x="1259436" y="1501390"/>
            <a:ext cx="0" cy="20510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矢印コネクタ 18"/>
          <p:cNvCxnSpPr>
            <a:stCxn id="13" idx="2"/>
            <a:endCxn id="14" idx="0"/>
          </p:cNvCxnSpPr>
          <p:nvPr/>
        </p:nvCxnSpPr>
        <p:spPr>
          <a:xfrm>
            <a:off x="1259436" y="1937227"/>
            <a:ext cx="0" cy="230735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矢印コネクタ 21"/>
          <p:cNvCxnSpPr>
            <a:stCxn id="14" idx="2"/>
            <a:endCxn id="15" idx="0"/>
          </p:cNvCxnSpPr>
          <p:nvPr/>
        </p:nvCxnSpPr>
        <p:spPr>
          <a:xfrm>
            <a:off x="1259436" y="2398699"/>
            <a:ext cx="0" cy="173051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矢印コネクタ 24"/>
          <p:cNvCxnSpPr>
            <a:stCxn id="15" idx="2"/>
            <a:endCxn id="16" idx="0"/>
          </p:cNvCxnSpPr>
          <p:nvPr/>
        </p:nvCxnSpPr>
        <p:spPr>
          <a:xfrm>
            <a:off x="1259436" y="2802487"/>
            <a:ext cx="0" cy="19228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矢印コネクタ 27"/>
          <p:cNvCxnSpPr>
            <a:stCxn id="16" idx="2"/>
            <a:endCxn id="42" idx="0"/>
          </p:cNvCxnSpPr>
          <p:nvPr/>
        </p:nvCxnSpPr>
        <p:spPr>
          <a:xfrm>
            <a:off x="1259437" y="3225503"/>
            <a:ext cx="1" cy="192279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コンテンツ プレースホルダ 2"/>
          <p:cNvSpPr txBox="1">
            <a:spLocks/>
          </p:cNvSpPr>
          <p:nvPr/>
        </p:nvSpPr>
        <p:spPr>
          <a:xfrm>
            <a:off x="2133602" y="1371600"/>
            <a:ext cx="5959800" cy="3095714"/>
          </a:xfrm>
          <a:prstGeom prst="rect">
            <a:avLst/>
          </a:prstGeom>
        </p:spPr>
        <p:txBody>
          <a:bodyPr vert="horz" lIns="0" tIns="13500" rIns="0" bIns="13500" rtlCol="0">
            <a:normAutofit/>
          </a:bodyPr>
          <a:lstStyle/>
          <a:p>
            <a:pPr marL="133350" indent="-133350" defTabSz="68580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  <a:defRPr/>
            </a:pPr>
            <a:r>
              <a:rPr lang="en-US" sz="1200" dirty="0">
                <a:cs typeface="Arial" pitchFamily="34" charset="0"/>
              </a:rPr>
              <a:t>Dead track flag is set the end of tracking part and will be removed at next frame.</a:t>
            </a:r>
          </a:p>
          <a:p>
            <a:pPr marL="133350" indent="-13335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</a:pPr>
            <a:r>
              <a:rPr lang="en-US" sz="1200" dirty="0">
                <a:cs typeface="Arial" pitchFamily="34" charset="0"/>
              </a:rPr>
              <a:t>Tracking use the SLAM, the </a:t>
            </a:r>
            <a:r>
              <a:rPr lang="en-US" altLang="ja-JP" sz="1200" dirty="0">
                <a:cs typeface="Arial" pitchFamily="34" charset="0"/>
              </a:rPr>
              <a:t>algorithm of </a:t>
            </a:r>
            <a:r>
              <a:rPr lang="en-US" sz="1200" dirty="0">
                <a:cs typeface="Arial" pitchFamily="34" charset="0"/>
              </a:rPr>
              <a:t>tracking estimated from ego motion</a:t>
            </a:r>
          </a:p>
          <a:p>
            <a:pPr marL="133350" indent="-13335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</a:pPr>
            <a:r>
              <a:rPr lang="en-US" sz="1200" dirty="0">
                <a:cs typeface="Arial" pitchFamily="34" charset="0"/>
              </a:rPr>
              <a:t>Find the similar light object and match to the tracking</a:t>
            </a:r>
          </a:p>
          <a:p>
            <a:pPr marL="476250" lvl="1" indent="-13335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</a:pPr>
            <a:r>
              <a:rPr lang="en-US" sz="1200" dirty="0">
                <a:cs typeface="Arial" pitchFamily="34" charset="0"/>
              </a:rPr>
              <a:t>The light near the track will be match</a:t>
            </a:r>
          </a:p>
          <a:p>
            <a:pPr marL="476250" lvl="1" indent="-13335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</a:pPr>
            <a:r>
              <a:rPr lang="en-US" sz="1200" dirty="0">
                <a:cs typeface="Arial" pitchFamily="34" charset="0"/>
              </a:rPr>
              <a:t>The characteristic of the light is also important for matching</a:t>
            </a:r>
          </a:p>
          <a:p>
            <a:pPr marL="133350" indent="-13335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</a:pPr>
            <a:r>
              <a:rPr lang="en-US" sz="1200" dirty="0">
                <a:cs typeface="Arial" pitchFamily="34" charset="0"/>
              </a:rPr>
              <a:t>Association will decide </a:t>
            </a:r>
            <a:r>
              <a:rPr lang="en-US" altLang="zh-CN" sz="1200" dirty="0">
                <a:cs typeface="Arial" pitchFamily="34" charset="0"/>
              </a:rPr>
              <a:t>which</a:t>
            </a:r>
            <a:r>
              <a:rPr lang="en-US" sz="1200" dirty="0">
                <a:cs typeface="Arial" pitchFamily="34" charset="0"/>
              </a:rPr>
              <a:t> light to track</a:t>
            </a:r>
          </a:p>
          <a:p>
            <a:pPr marL="476250" lvl="1" indent="-13335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</a:pPr>
            <a:r>
              <a:rPr lang="en-US" sz="1200" dirty="0">
                <a:cs typeface="Arial" pitchFamily="34" charset="0"/>
              </a:rPr>
              <a:t>Tracking up to 85</a:t>
            </a:r>
          </a:p>
          <a:p>
            <a:pPr marL="476250" lvl="1" indent="-13335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</a:pPr>
            <a:r>
              <a:rPr lang="en-US" sz="1200" dirty="0">
                <a:cs typeface="Arial" pitchFamily="34" charset="0"/>
              </a:rPr>
              <a:t>If the tracking goes to max, the prior light will be tracked</a:t>
            </a:r>
          </a:p>
          <a:p>
            <a:pPr marL="819150" lvl="2" indent="-13335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</a:pPr>
            <a:r>
              <a:rPr lang="en-US" sz="1200" dirty="0">
                <a:cs typeface="Arial" pitchFamily="34" charset="0"/>
              </a:rPr>
              <a:t>Priority will be decided by light information (e.g. distance)</a:t>
            </a:r>
          </a:p>
          <a:p>
            <a:pPr marL="476250" lvl="1" indent="-133350">
              <a:spcAft>
                <a:spcPts val="900"/>
              </a:spcAft>
              <a:buClr>
                <a:schemeClr val="accent1"/>
              </a:buClr>
              <a:buSzPct val="100000"/>
              <a:buBlip>
                <a:blip r:embed="rId3"/>
              </a:buBlip>
            </a:pPr>
            <a:endParaRPr lang="en-US" sz="1200" dirty="0">
              <a:cs typeface="Arial" pitchFamily="34" charset="0"/>
            </a:endParaRPr>
          </a:p>
        </p:txBody>
      </p:sp>
      <p:sp>
        <p:nvSpPr>
          <p:cNvPr id="42" name="正方形/長方形 41"/>
          <p:cNvSpPr/>
          <p:nvPr/>
        </p:nvSpPr>
        <p:spPr>
          <a:xfrm>
            <a:off x="685801" y="3417782"/>
            <a:ext cx="1147273" cy="230737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en-US" sz="788" dirty="0">
                <a:solidFill>
                  <a:schemeClr val="bg2">
                    <a:lumMod val="10000"/>
                  </a:schemeClr>
                </a:solidFill>
              </a:rPr>
              <a:t>Add new pair</a:t>
            </a:r>
          </a:p>
        </p:txBody>
      </p:sp>
      <p:cxnSp>
        <p:nvCxnSpPr>
          <p:cNvPr id="44" name="直線矢印コネクタ 43"/>
          <p:cNvCxnSpPr>
            <a:cxnSpLocks/>
            <a:stCxn id="42" idx="2"/>
          </p:cNvCxnSpPr>
          <p:nvPr/>
        </p:nvCxnSpPr>
        <p:spPr>
          <a:xfrm>
            <a:off x="1259437" y="3648519"/>
            <a:ext cx="3205" cy="192281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575226-03F4-4A72-B646-C8A67003C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16596"/>
            <a:ext cx="6903243" cy="486053"/>
          </a:xfrm>
        </p:spPr>
        <p:txBody>
          <a:bodyPr/>
          <a:lstStyle/>
          <a:p>
            <a:r>
              <a:rPr lang="en-US" altLang="zh-CN" dirty="0"/>
              <a:t>LSD</a:t>
            </a:r>
            <a:r>
              <a:rPr lang="en-US" dirty="0"/>
              <a:t>: Analysi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04AC2C-2C27-449F-86FF-532FB01164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7359" y="702649"/>
            <a:ext cx="3162300" cy="3623019"/>
          </a:xfrm>
        </p:spPr>
        <p:txBody>
          <a:bodyPr/>
          <a:lstStyle/>
          <a:p>
            <a:r>
              <a:rPr lang="en-US" altLang="ja-JP" sz="1050" dirty="0">
                <a:ea typeface="ＭＳ Ｐゴシック" pitchFamily="34" charset="-128"/>
              </a:rPr>
              <a:t>The analysis attaches classification information to light tracks, based on characteristic features, for further detection of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Vehicles (oncoming or leading traffic)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City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Highway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Tunnel</a:t>
            </a:r>
          </a:p>
          <a:p>
            <a:r>
              <a:rPr lang="en-US" altLang="ja-JP" sz="1050" dirty="0">
                <a:ea typeface="ＭＳ Ｐゴシック" pitchFamily="34" charset="-128"/>
              </a:rPr>
              <a:t>The output of the analysis are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Object list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City data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Highway data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Tunnel data</a:t>
            </a:r>
          </a:p>
          <a:p>
            <a:endParaRPr lang="en-US" dirty="0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D8E3E23C-1D69-4E89-9C21-50E2C0A3EBC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82070123"/>
              </p:ext>
            </p:extLst>
          </p:nvPr>
        </p:nvGraphicFramePr>
        <p:xfrm>
          <a:off x="3886200" y="459622"/>
          <a:ext cx="4340226" cy="35281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Visio" r:id="rId4" imgW="9772078" imgH="7126605" progId="">
                  <p:embed/>
                </p:oleObj>
              </mc:Choice>
              <mc:Fallback>
                <p:oleObj name="Visio" r:id="rId4" imgW="9772078" imgH="7126605" progId="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D8E3E23C-1D69-4E89-9C21-50E2C0A3EBC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4506" t="3384" r="13678" b="3688"/>
                      <a:stretch>
                        <a:fillRect/>
                      </a:stretch>
                    </p:blipFill>
                    <p:spPr bwMode="auto">
                      <a:xfrm>
                        <a:off x="3886200" y="459622"/>
                        <a:ext cx="4340226" cy="352816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5388494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dirty="0">
                <a:solidFill>
                  <a:schemeClr val="tx1"/>
                </a:solidFill>
              </a:rPr>
              <a:t>Detail of Analysi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819150"/>
            <a:ext cx="8353425" cy="2813275"/>
          </a:xfrm>
        </p:spPr>
        <p:txBody>
          <a:bodyPr/>
          <a:lstStyle/>
          <a:p>
            <a:r>
              <a:rPr lang="en-US" altLang="ja-JP" sz="1050" dirty="0">
                <a:ea typeface="ＭＳ Ｐゴシック" pitchFamily="34" charset="-128"/>
              </a:rPr>
              <a:t>The vehicle analysis detects oncoming and leading traffic and distinguishes them from reflectors and other active lights such as street lamps.</a:t>
            </a:r>
          </a:p>
          <a:p>
            <a:r>
              <a:rPr lang="en-US" altLang="ja-JP" sz="1050" dirty="0">
                <a:ea typeface="ＭＳ Ｐゴシック" pitchFamily="34" charset="-128"/>
              </a:rPr>
              <a:t>Each light track is processed in four different stages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In the base level the basic features for</a:t>
            </a:r>
            <a:br>
              <a:rPr lang="en-US" altLang="ja-JP" sz="1050" dirty="0">
                <a:ea typeface="ＭＳ Ｐゴシック" pitchFamily="34" charset="-128"/>
              </a:rPr>
            </a:br>
            <a:r>
              <a:rPr lang="en-US" altLang="ja-JP" sz="1050" dirty="0">
                <a:ea typeface="ＭＳ Ｐゴシック" pitchFamily="34" charset="-128"/>
              </a:rPr>
              <a:t>further processing are extracted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In the 1st level a low level classification is</a:t>
            </a:r>
            <a:br>
              <a:rPr lang="en-US" altLang="ja-JP" sz="1050" dirty="0">
                <a:ea typeface="ＭＳ Ｐゴシック" pitchFamily="34" charset="-128"/>
              </a:rPr>
            </a:br>
            <a:r>
              <a:rPr lang="en-US" altLang="ja-JP" sz="1050" dirty="0">
                <a:ea typeface="ＭＳ Ｐゴシック" pitchFamily="34" charset="-128"/>
              </a:rPr>
              <a:t>performed on features like intensity, color,</a:t>
            </a:r>
            <a:br>
              <a:rPr lang="en-US" altLang="ja-JP" sz="1050" dirty="0">
                <a:ea typeface="ＭＳ Ｐゴシック" pitchFamily="34" charset="-128"/>
              </a:rPr>
            </a:br>
            <a:r>
              <a:rPr lang="en-US" altLang="ja-JP" sz="1050" dirty="0">
                <a:ea typeface="ＭＳ Ｐゴシック" pitchFamily="34" charset="-128"/>
              </a:rPr>
              <a:t>motion or temporal behavior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In the 2nd level a high level classification is </a:t>
            </a:r>
            <a:br>
              <a:rPr lang="en-US" altLang="ja-JP" sz="1050" dirty="0">
                <a:ea typeface="ＭＳ Ｐゴシック" pitchFamily="34" charset="-128"/>
              </a:rPr>
            </a:br>
            <a:r>
              <a:rPr lang="en-US" altLang="ja-JP" sz="1050" dirty="0">
                <a:ea typeface="ＭＳ Ｐゴシック" pitchFamily="34" charset="-128"/>
              </a:rPr>
              <a:t>performed on features like the shape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In the 3rd and final level the driving </a:t>
            </a:r>
            <a:br>
              <a:rPr lang="en-US" altLang="ja-JP" sz="1050" dirty="0">
                <a:ea typeface="ＭＳ Ｐゴシック" pitchFamily="34" charset="-128"/>
              </a:rPr>
            </a:br>
            <a:r>
              <a:rPr lang="en-US" altLang="ja-JP" sz="1050" dirty="0">
                <a:ea typeface="ＭＳ Ｐゴシック" pitchFamily="34" charset="-128"/>
              </a:rPr>
              <a:t>directions of the vehicles are detected</a:t>
            </a:r>
            <a:endParaRPr lang="en-US" dirty="0"/>
          </a:p>
        </p:txBody>
      </p:sp>
      <p:graphicFrame>
        <p:nvGraphicFramePr>
          <p:cNvPr id="6146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3154866"/>
              </p:ext>
            </p:extLst>
          </p:nvPr>
        </p:nvGraphicFramePr>
        <p:xfrm>
          <a:off x="3657600" y="771922"/>
          <a:ext cx="5004768" cy="40683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Visio" r:id="rId4" imgW="9772174" imgH="7126605" progId="">
                  <p:embed/>
                </p:oleObj>
              </mc:Choice>
              <mc:Fallback>
                <p:oleObj name="Visio" r:id="rId4" imgW="9772174" imgH="7126605" progId="">
                  <p:embed/>
                  <p:pic>
                    <p:nvPicPr>
                      <p:cNvPr id="6146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4506" t="3384" r="13678" b="3688"/>
                      <a:stretch>
                        <a:fillRect/>
                      </a:stretch>
                    </p:blipFill>
                    <p:spPr bwMode="auto">
                      <a:xfrm>
                        <a:off x="3657600" y="771922"/>
                        <a:ext cx="5004768" cy="406836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B418C4-1A1B-4EAD-A178-D9B6065A1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263690"/>
            <a:ext cx="6903243" cy="486053"/>
          </a:xfrm>
        </p:spPr>
        <p:txBody>
          <a:bodyPr/>
          <a:lstStyle/>
          <a:p>
            <a:r>
              <a:rPr lang="en-US" dirty="0"/>
              <a:t>HL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0965B50-D380-4FC1-B41E-8A3A00FD63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742951"/>
            <a:ext cx="3009900" cy="3200400"/>
          </a:xfrm>
        </p:spPr>
        <p:txBody>
          <a:bodyPr/>
          <a:lstStyle/>
          <a:p>
            <a:r>
              <a:rPr lang="en-US" altLang="ja-JP" sz="1050" dirty="0">
                <a:ea typeface="ＭＳ Ｐゴシック" pitchFamily="34" charset="-128"/>
              </a:rPr>
              <a:t>The function module interprets the output of the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Image processing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Blockage detection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Current situation, e.g. driving situation </a:t>
            </a:r>
          </a:p>
          <a:p>
            <a:r>
              <a:rPr lang="en-US" altLang="ja-JP" sz="1050" dirty="0">
                <a:ea typeface="ＭＳ Ｐゴシック" pitchFamily="34" charset="-128"/>
              </a:rPr>
              <a:t>The variant selection control the illumination characteristics of the head lamps depending on the HLA variant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HLA light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HLA (standard)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HLA plus</a:t>
            </a:r>
          </a:p>
          <a:p>
            <a:endParaRPr lang="en-US" dirty="0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012ED0FC-84DE-4E5A-89C1-3451BACB6FB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17724187"/>
              </p:ext>
            </p:extLst>
          </p:nvPr>
        </p:nvGraphicFramePr>
        <p:xfrm>
          <a:off x="4077821" y="506716"/>
          <a:ext cx="4286250" cy="37732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Visio" r:id="rId4" imgW="8206740" imgH="7225474" progId="">
                  <p:embed/>
                </p:oleObj>
              </mc:Choice>
              <mc:Fallback>
                <p:oleObj name="Visio" r:id="rId4" imgW="8206740" imgH="7225474" progId="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012ED0FC-84DE-4E5A-89C1-3451BACB6FB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77821" y="506716"/>
                        <a:ext cx="4286250" cy="37732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2695871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 idx="1"/>
          </p:nvPr>
        </p:nvSpPr>
        <p:spPr>
          <a:xfrm>
            <a:off x="685800" y="824753"/>
            <a:ext cx="7628334" cy="3672147"/>
          </a:xfrm>
        </p:spPr>
        <p:txBody>
          <a:bodyPr/>
          <a:lstStyle/>
          <a:p>
            <a:r>
              <a:rPr kumimoji="1" lang="en-US" dirty="0"/>
              <a:t>HLA has following factories to decide behavior.</a:t>
            </a:r>
          </a:p>
          <a:p>
            <a:pPr lvl="1"/>
            <a:r>
              <a:rPr kumimoji="1" lang="en-US" dirty="0"/>
              <a:t>Ambient brightness</a:t>
            </a:r>
          </a:p>
          <a:p>
            <a:pPr lvl="1"/>
            <a:r>
              <a:rPr kumimoji="1" lang="en-US" dirty="0"/>
              <a:t>Velocity</a:t>
            </a:r>
          </a:p>
          <a:p>
            <a:pPr lvl="1"/>
            <a:r>
              <a:rPr kumimoji="1" lang="en-US" dirty="0"/>
              <a:t>City </a:t>
            </a:r>
          </a:p>
          <a:p>
            <a:pPr lvl="1"/>
            <a:r>
              <a:rPr kumimoji="1" lang="en-US" dirty="0"/>
              <a:t>Tunnel </a:t>
            </a:r>
          </a:p>
          <a:p>
            <a:pPr lvl="1"/>
            <a:r>
              <a:rPr kumimoji="1" lang="en-US" dirty="0"/>
              <a:t>Object Vehicle </a:t>
            </a:r>
          </a:p>
          <a:p>
            <a:pPr lvl="1"/>
            <a:r>
              <a:rPr kumimoji="1" lang="en-US" dirty="0"/>
              <a:t>Blockage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685800" y="303865"/>
            <a:ext cx="8353425" cy="720726"/>
          </a:xfrm>
        </p:spPr>
        <p:txBody>
          <a:bodyPr/>
          <a:lstStyle/>
          <a:p>
            <a:r>
              <a:rPr kumimoji="1" lang="en-US" dirty="0"/>
              <a:t>HLA Turn Off Reason</a:t>
            </a:r>
          </a:p>
        </p:txBody>
      </p:sp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116" name="Picture 4" descr="http://images.clipartpanda.com/question-clipart-for-powerpoint-guess-clipart-jpg_3626-Question-Mark-Cartoon-Character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71972" y="509883"/>
            <a:ext cx="1428679" cy="2290467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3028950" y="3091504"/>
            <a:ext cx="3086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303888150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6C0B28-7AFC-4D6A-A518-B99CF8BDC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dirty="0">
                <a:solidFill>
                  <a:schemeClr val="tx1"/>
                </a:solidFill>
              </a:rPr>
              <a:t>TSA Algorithm Archite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EDCEF7-960D-462C-837B-13AF12258F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889747"/>
            <a:ext cx="4495800" cy="30322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6E3AC68-E5D7-40BA-80B5-63496EFAA6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5381" y="1873720"/>
            <a:ext cx="4056219" cy="119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53468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0E3B0-B14D-4BAB-860C-B16A36245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6" y="438150"/>
            <a:ext cx="8353425" cy="720726"/>
          </a:xfrm>
        </p:spPr>
        <p:txBody>
          <a:bodyPr/>
          <a:lstStyle/>
          <a:p>
            <a:r>
              <a:rPr lang="en-US" dirty="0"/>
              <a:t>S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7FE5B49-EF23-4653-8737-696E5E0FF2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918882"/>
            <a:ext cx="6919914" cy="321322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74B7E79-04C8-4D6E-8BD2-FD37950B04B1}"/>
              </a:ext>
            </a:extLst>
          </p:cNvPr>
          <p:cNvSpPr txBox="1"/>
          <p:nvPr/>
        </p:nvSpPr>
        <p:spPr>
          <a:xfrm>
            <a:off x="304800" y="970892"/>
            <a:ext cx="1159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etection</a:t>
            </a:r>
          </a:p>
        </p:txBody>
      </p:sp>
    </p:spTree>
    <p:extLst>
      <p:ext uri="{BB962C8B-B14F-4D97-AF65-F5344CB8AC3E}">
        <p14:creationId xmlns:p14="http://schemas.microsoft.com/office/powerpoint/2010/main" val="106522376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21CB7-9490-4E56-8673-5532073DB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Target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D1DCB2-87BE-446E-8D51-447D670E69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05200" y="1087798"/>
            <a:ext cx="5099050" cy="1159510"/>
          </a:xfrm>
        </p:spPr>
        <p:txBody>
          <a:bodyPr/>
          <a:lstStyle/>
          <a:p>
            <a:pPr>
              <a:spcBef>
                <a:spcPts val="500"/>
              </a:spcBef>
            </a:pPr>
            <a:r>
              <a:rPr lang="en-US" dirty="0"/>
              <a:t>L1 New</a:t>
            </a:r>
          </a:p>
          <a:p>
            <a:pPr>
              <a:spcBef>
                <a:spcPts val="500"/>
              </a:spcBef>
            </a:pPr>
            <a:r>
              <a:rPr lang="en-US" dirty="0"/>
              <a:t>L2 Basi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317964-D931-474F-9AD9-1F17A4B9BF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05200" y="1059582"/>
            <a:ext cx="5099050" cy="521568"/>
          </a:xfrm>
        </p:spPr>
        <p:txBody>
          <a:bodyPr bIns="0">
            <a:noAutofit/>
          </a:bodyPr>
          <a:lstStyle/>
          <a:p>
            <a:pPr>
              <a:spcBef>
                <a:spcPts val="0"/>
              </a:spcBef>
            </a:pPr>
            <a:r>
              <a:rPr lang="en-US" dirty="0"/>
              <a:t>Target Group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(Level of participant before the training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A906A1-460F-40EA-B38F-2AC0842E46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Bef>
                <a:spcPts val="500"/>
              </a:spcBef>
            </a:pPr>
            <a:r>
              <a:rPr lang="en-US" dirty="0"/>
              <a:t>Help participants to reach skill level 3 Advanced</a:t>
            </a:r>
          </a:p>
          <a:p>
            <a:pPr>
              <a:spcBef>
                <a:spcPts val="500"/>
              </a:spcBef>
            </a:pPr>
            <a:r>
              <a:rPr lang="en-US" dirty="0"/>
              <a:t>Know more about functions algorithm and behavior</a:t>
            </a:r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13E5B84-AECF-42E7-B80E-C3B2BB74EA4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98850" y="2355490"/>
            <a:ext cx="5099050" cy="521568"/>
          </a:xfrm>
        </p:spPr>
        <p:txBody>
          <a:bodyPr bIns="0">
            <a:noAutofit/>
          </a:bodyPr>
          <a:lstStyle/>
          <a:p>
            <a:pPr>
              <a:spcBef>
                <a:spcPts val="0"/>
              </a:spcBef>
            </a:pPr>
            <a:r>
              <a:rPr lang="en-US" dirty="0"/>
              <a:t>Training Target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(what can be achieved/gained after having the training)</a:t>
            </a:r>
          </a:p>
        </p:txBody>
      </p:sp>
    </p:spTree>
    <p:extLst>
      <p:ext uri="{BB962C8B-B14F-4D97-AF65-F5344CB8AC3E}">
        <p14:creationId xmlns:p14="http://schemas.microsoft.com/office/powerpoint/2010/main" val="3348269356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0E3B0-B14D-4BAB-860C-B16A36245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6" y="438150"/>
            <a:ext cx="8353425" cy="720726"/>
          </a:xfrm>
        </p:spPr>
        <p:txBody>
          <a:bodyPr/>
          <a:lstStyle/>
          <a:p>
            <a:r>
              <a:rPr lang="en-US" dirty="0"/>
              <a:t>S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010C6DA-3B5E-40D0-BBB6-D9F6A41799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6400" y="958443"/>
            <a:ext cx="6629400" cy="322885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A8F0817-B42B-4425-BA0A-2264CFE09B6C}"/>
              </a:ext>
            </a:extLst>
          </p:cNvPr>
          <p:cNvSpPr txBox="1"/>
          <p:nvPr/>
        </p:nvSpPr>
        <p:spPr>
          <a:xfrm>
            <a:off x="342900" y="895350"/>
            <a:ext cx="14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acking</a:t>
            </a:r>
          </a:p>
        </p:txBody>
      </p:sp>
    </p:spTree>
    <p:extLst>
      <p:ext uri="{BB962C8B-B14F-4D97-AF65-F5344CB8AC3E}">
        <p14:creationId xmlns:p14="http://schemas.microsoft.com/office/powerpoint/2010/main" val="4196790486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0E3B0-B14D-4BAB-860C-B16A36245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6" y="361950"/>
            <a:ext cx="8353425" cy="720726"/>
          </a:xfrm>
        </p:spPr>
        <p:txBody>
          <a:bodyPr/>
          <a:lstStyle/>
          <a:p>
            <a:r>
              <a:rPr lang="en-US" dirty="0"/>
              <a:t>S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107BA71-4062-47A7-9F67-005AE72EB3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0" y="637843"/>
            <a:ext cx="5810813" cy="368239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143E2FA-4AC6-476D-8CD1-A2F9A6309448}"/>
              </a:ext>
            </a:extLst>
          </p:cNvPr>
          <p:cNvSpPr txBox="1"/>
          <p:nvPr/>
        </p:nvSpPr>
        <p:spPr>
          <a:xfrm>
            <a:off x="284788" y="734639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lassific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D8FD4DB-E86C-4436-BBF0-C368E4249D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1859" y="688342"/>
            <a:ext cx="5762625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70494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0E3B0-B14D-4BAB-860C-B16A36245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6" y="438150"/>
            <a:ext cx="8353425" cy="720726"/>
          </a:xfrm>
        </p:spPr>
        <p:txBody>
          <a:bodyPr/>
          <a:lstStyle/>
          <a:p>
            <a:r>
              <a:rPr lang="en-US" dirty="0"/>
              <a:t>S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1F7194-1B0A-47EE-9D4A-9AB14FE98E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1220" y="863084"/>
            <a:ext cx="5981224" cy="326619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09A9A-BD75-41E8-9FF1-76418014EC70}"/>
              </a:ext>
            </a:extLst>
          </p:cNvPr>
          <p:cNvSpPr txBox="1"/>
          <p:nvPr/>
        </p:nvSpPr>
        <p:spPr>
          <a:xfrm>
            <a:off x="321186" y="863084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fterburner</a:t>
            </a:r>
          </a:p>
        </p:txBody>
      </p:sp>
    </p:spTree>
    <p:extLst>
      <p:ext uri="{BB962C8B-B14F-4D97-AF65-F5344CB8AC3E}">
        <p14:creationId xmlns:p14="http://schemas.microsoft.com/office/powerpoint/2010/main" val="3352173042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57C65-D538-4D2F-8118-B661F3756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C4B8E0-AB7D-483B-B881-97D347BCE48A}"/>
              </a:ext>
            </a:extLst>
          </p:cNvPr>
          <p:cNvSpPr txBox="1"/>
          <p:nvPr/>
        </p:nvSpPr>
        <p:spPr>
          <a:xfrm>
            <a:off x="304800" y="754183"/>
            <a:ext cx="2262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upplementary Sig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94556EF-6BB1-4C3D-8123-7CDA678F42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254" y="1651747"/>
            <a:ext cx="3815294" cy="151944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D057790-F5F1-41C1-BF68-E7C305CD79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2800" y="1150452"/>
            <a:ext cx="1322947" cy="15058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599EFD1-A8DA-4E49-9819-39BE8CBE95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1293" y="1154287"/>
            <a:ext cx="1170533" cy="16460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7855BE7-B47D-4652-A719-6934622D36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6060" y="1150452"/>
            <a:ext cx="774259" cy="120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043893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F3EAFA-6C64-4D59-A40A-DB8746E7B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</p:spPr>
        <p:txBody>
          <a:bodyPr/>
          <a:lstStyle/>
          <a:p>
            <a:r>
              <a:rPr lang="en-US" dirty="0"/>
              <a:t>TSA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A2FC2E6-3ABE-462D-B92C-BA2AA8CA2C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57400" y="1733550"/>
            <a:ext cx="4918488" cy="228173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4430025-D0AD-42C6-8356-A972C89A21FD}"/>
              </a:ext>
            </a:extLst>
          </p:cNvPr>
          <p:cNvSpPr/>
          <p:nvPr/>
        </p:nvSpPr>
        <p:spPr>
          <a:xfrm>
            <a:off x="395289" y="971550"/>
            <a:ext cx="783431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/>
              <a:t>Traffic Sign Assist is a kind of driver assistance function which makes use of (country-specific) traffic rules to interpret the recognized traffic signs and issues resulting information to the driver (e.g. speed limit cancellation while overtaking is still forbidden).  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14144288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B2BFB2-9BA5-4314-B611-36E3642D0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SA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F21533-0903-4311-8DB2-387B27E157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6831" y="819150"/>
            <a:ext cx="5410337" cy="331987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E1A7A49-E2FE-4AD0-A8CE-1826A36273A7}"/>
              </a:ext>
            </a:extLst>
          </p:cNvPr>
          <p:cNvSpPr txBox="1"/>
          <p:nvPr/>
        </p:nvSpPr>
        <p:spPr>
          <a:xfrm>
            <a:off x="304800" y="895350"/>
            <a:ext cx="335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TS Visualization</a:t>
            </a:r>
          </a:p>
        </p:txBody>
      </p:sp>
    </p:spTree>
    <p:extLst>
      <p:ext uri="{BB962C8B-B14F-4D97-AF65-F5344CB8AC3E}">
        <p14:creationId xmlns:p14="http://schemas.microsoft.com/office/powerpoint/2010/main" val="1038839677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116" name="Picture 4" descr="http://images.clipartpanda.com/question-clipart-for-powerpoint-guess-clipart-jpg_3626-Question-Mark-Cartoon-Character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71972" y="509883"/>
            <a:ext cx="1428679" cy="2290467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3028950" y="3091504"/>
            <a:ext cx="3086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3694121266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9284" y="742950"/>
            <a:ext cx="8353425" cy="720726"/>
          </a:xfrm>
        </p:spPr>
        <p:txBody>
          <a:bodyPr/>
          <a:lstStyle/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 for your attention!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0693" y="3211860"/>
            <a:ext cx="2514600" cy="935930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sz="12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INER CONTACT INFO:</a:t>
            </a:r>
          </a:p>
          <a:p>
            <a:pPr>
              <a:spcBef>
                <a:spcPts val="0"/>
              </a:spcBef>
            </a:pPr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spcBef>
                <a:spcPts val="0"/>
              </a:spcBef>
            </a:pPr>
            <a:r>
              <a:rPr lang="en-US" sz="1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me: Yefei Wei</a:t>
            </a:r>
          </a:p>
          <a:p>
            <a:pPr>
              <a:spcBef>
                <a:spcPts val="0"/>
              </a:spcBef>
            </a:pPr>
            <a:r>
              <a:rPr lang="en-US" sz="1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kype: Yefei, Wei(uia70152)</a:t>
            </a:r>
          </a:p>
          <a:p>
            <a:pPr>
              <a:spcBef>
                <a:spcPts val="0"/>
              </a:spcBef>
            </a:pPr>
            <a:r>
              <a:rPr lang="en-US" sz="1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fice Phone:3916 5785</a:t>
            </a:r>
          </a:p>
          <a:p>
            <a:pPr>
              <a:spcBef>
                <a:spcPts val="0"/>
              </a:spcBef>
            </a:pPr>
            <a:endParaRPr lang="en-US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BEAA91A0-4BC6-42C1-A821-BD1ABCA704F1}"/>
              </a:ext>
            </a:extLst>
          </p:cNvPr>
          <p:cNvSpPr txBox="1">
            <a:spLocks/>
          </p:cNvSpPr>
          <p:nvPr/>
        </p:nvSpPr>
        <p:spPr>
          <a:xfrm>
            <a:off x="515042" y="1245519"/>
            <a:ext cx="6647758" cy="1404602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25000"/>
              <a:buFontTx/>
              <a:buNone/>
              <a:defRPr sz="20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4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14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EDBACK:</a:t>
            </a:r>
          </a:p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ease share your feedback by the following link or by scanning the following QR-code:</a:t>
            </a:r>
          </a:p>
          <a:p>
            <a:pPr>
              <a:spcBef>
                <a:spcPts val="0"/>
              </a:spcBef>
              <a:buClr>
                <a:schemeClr val="bg1"/>
              </a:buClr>
            </a:pPr>
            <a:r>
              <a:rPr lang="en-US" sz="12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jx.cn/jq/42915896.aspx</a:t>
            </a:r>
            <a:endParaRPr 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171450" indent="-171450"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v"/>
            </a:pPr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D9FA776-9E95-4933-AAFE-B88C3E48164A}"/>
              </a:ext>
            </a:extLst>
          </p:cNvPr>
          <p:cNvSpPr txBox="1">
            <a:spLocks/>
          </p:cNvSpPr>
          <p:nvPr/>
        </p:nvSpPr>
        <p:spPr>
          <a:xfrm>
            <a:off x="2590800" y="3211860"/>
            <a:ext cx="2514600" cy="935930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25000"/>
              <a:buFontTx/>
              <a:buNone/>
              <a:defRPr sz="20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4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spcBef>
                <a:spcPts val="0"/>
              </a:spcBef>
            </a:pPr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spcBef>
                <a:spcPts val="0"/>
              </a:spcBef>
            </a:pPr>
            <a:r>
              <a:rPr lang="en-US" sz="1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me: Zhongwen Ye</a:t>
            </a:r>
          </a:p>
          <a:p>
            <a:pPr>
              <a:spcBef>
                <a:spcPts val="0"/>
              </a:spcBef>
            </a:pPr>
            <a:r>
              <a:rPr lang="en-US" sz="1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kype: ye, zhongwen03(uib65042)</a:t>
            </a:r>
          </a:p>
          <a:p>
            <a:pPr>
              <a:spcBef>
                <a:spcPts val="0"/>
              </a:spcBef>
            </a:pPr>
            <a:r>
              <a:rPr lang="en-US" sz="1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fice Phone:3916 5623</a:t>
            </a:r>
            <a:endParaRPr lang="en-US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7AF7810-5D46-4F4C-A7C2-5B62A7734C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107" t="8471" r="10893" b="10061"/>
          <a:stretch/>
        </p:blipFill>
        <p:spPr>
          <a:xfrm>
            <a:off x="515042" y="2046946"/>
            <a:ext cx="897934" cy="914400"/>
          </a:xfrm>
          <a:prstGeom prst="rect">
            <a:avLst/>
          </a:prstGeom>
        </p:spPr>
      </p:pic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B487BADD-8B96-43FB-8567-72D60FDAC76A}"/>
              </a:ext>
            </a:extLst>
          </p:cNvPr>
          <p:cNvSpPr txBox="1">
            <a:spLocks/>
          </p:cNvSpPr>
          <p:nvPr/>
        </p:nvSpPr>
        <p:spPr>
          <a:xfrm>
            <a:off x="1448393" y="2774293"/>
            <a:ext cx="3962400" cy="313394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25000"/>
              <a:buFontTx/>
              <a:buNone/>
              <a:defRPr sz="20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4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ease finish before you leave the class room. Thank you </a:t>
            </a:r>
            <a:r>
              <a:rPr lang="en-US" sz="1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</a:t>
            </a:r>
            <a:endParaRPr lang="en-US" sz="1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spcBef>
                <a:spcPts val="0"/>
              </a:spcBef>
            </a:pPr>
            <a:endParaRPr lang="en-US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Agenda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1403648" y="1347789"/>
            <a:ext cx="7345066" cy="2824162"/>
          </a:xfrm>
        </p:spPr>
        <p:txBody>
          <a:bodyPr>
            <a:normAutofit/>
          </a:bodyPr>
          <a:lstStyle/>
          <a:p>
            <a:r>
              <a:rPr lang="en-US" dirty="0"/>
              <a:t>The detection module – LSD(</a:t>
            </a:r>
            <a:r>
              <a:rPr lang="en-US" dirty="0">
                <a:solidFill>
                  <a:srgbClr val="FFC000"/>
                </a:solidFill>
              </a:rPr>
              <a:t>L</a:t>
            </a:r>
            <a:r>
              <a:rPr lang="en-US" dirty="0"/>
              <a:t>ight </a:t>
            </a:r>
            <a:r>
              <a:rPr lang="en-US" dirty="0">
                <a:solidFill>
                  <a:srgbClr val="FFC000"/>
                </a:solidFill>
              </a:rPr>
              <a:t>S</a:t>
            </a:r>
            <a:r>
              <a:rPr lang="en-US" dirty="0"/>
              <a:t>ource </a:t>
            </a:r>
            <a:r>
              <a:rPr lang="en-US" dirty="0">
                <a:solidFill>
                  <a:srgbClr val="FFC000"/>
                </a:solidFill>
              </a:rPr>
              <a:t>D</a:t>
            </a:r>
            <a:r>
              <a:rPr lang="en-US" dirty="0"/>
              <a:t>etection)</a:t>
            </a:r>
          </a:p>
          <a:p>
            <a:r>
              <a:rPr lang="en-US" dirty="0"/>
              <a:t>Function introduction – HLA(</a:t>
            </a:r>
            <a:r>
              <a:rPr lang="en-US" dirty="0">
                <a:solidFill>
                  <a:srgbClr val="FFC000"/>
                </a:solidFill>
              </a:rPr>
              <a:t>H</a:t>
            </a:r>
            <a:r>
              <a:rPr lang="en-US" dirty="0"/>
              <a:t>ead </a:t>
            </a:r>
            <a:r>
              <a:rPr lang="en-US" dirty="0">
                <a:solidFill>
                  <a:srgbClr val="FFC000"/>
                </a:solidFill>
              </a:rPr>
              <a:t>L</a:t>
            </a:r>
            <a:r>
              <a:rPr lang="en-US" dirty="0"/>
              <a:t>ight </a:t>
            </a:r>
            <a:r>
              <a:rPr lang="en-US" dirty="0">
                <a:solidFill>
                  <a:srgbClr val="FFC000"/>
                </a:solidFill>
              </a:rPr>
              <a:t>A</a:t>
            </a:r>
            <a:r>
              <a:rPr lang="en-US" dirty="0"/>
              <a:t>ssist)</a:t>
            </a:r>
          </a:p>
          <a:p>
            <a:r>
              <a:rPr lang="en-US" dirty="0"/>
              <a:t>The detection module – SR(</a:t>
            </a:r>
            <a:r>
              <a:rPr lang="en-US" dirty="0">
                <a:solidFill>
                  <a:srgbClr val="FFC000"/>
                </a:solidFill>
              </a:rPr>
              <a:t>S</a:t>
            </a:r>
            <a:r>
              <a:rPr lang="en-US" dirty="0"/>
              <a:t>ign </a:t>
            </a:r>
            <a:r>
              <a:rPr lang="en-US" dirty="0">
                <a:solidFill>
                  <a:srgbClr val="FFC000"/>
                </a:solidFill>
              </a:rPr>
              <a:t>R</a:t>
            </a:r>
            <a:r>
              <a:rPr lang="en-US" dirty="0"/>
              <a:t>ecognition)</a:t>
            </a:r>
          </a:p>
          <a:p>
            <a:r>
              <a:rPr lang="en-US" dirty="0"/>
              <a:t>Function introduction – TSA(</a:t>
            </a:r>
            <a:r>
              <a:rPr lang="en-US" dirty="0">
                <a:solidFill>
                  <a:srgbClr val="FFC000"/>
                </a:solidFill>
              </a:rPr>
              <a:t>T</a:t>
            </a:r>
            <a:r>
              <a:rPr lang="en-US" dirty="0"/>
              <a:t>raffic </a:t>
            </a:r>
            <a:r>
              <a:rPr lang="en-US" dirty="0">
                <a:solidFill>
                  <a:srgbClr val="FFC000"/>
                </a:solidFill>
              </a:rPr>
              <a:t>S</a:t>
            </a:r>
            <a:r>
              <a:rPr lang="en-US" dirty="0"/>
              <a:t>ign </a:t>
            </a:r>
            <a:r>
              <a:rPr lang="en-US" dirty="0">
                <a:solidFill>
                  <a:srgbClr val="FFC000"/>
                </a:solidFill>
              </a:rPr>
              <a:t>A</a:t>
            </a:r>
            <a:r>
              <a:rPr lang="en-US" dirty="0"/>
              <a:t>ssist)</a:t>
            </a: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6D318C-30E1-4DC8-9EA4-9FC6BCD8D8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87475"/>
            <a:ext cx="7642622" cy="486053"/>
          </a:xfrm>
        </p:spPr>
        <p:txBody>
          <a:bodyPr/>
          <a:lstStyle/>
          <a:p>
            <a:r>
              <a:rPr lang="en-US" altLang="zh-CN" dirty="0"/>
              <a:t>HLA </a:t>
            </a:r>
            <a:r>
              <a:rPr lang="en-US" dirty="0"/>
              <a:t>Algorithm Architecture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4589C7AE-6E15-4DF8-82D3-3EE579A77F9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5709369"/>
              </p:ext>
            </p:extLst>
          </p:nvPr>
        </p:nvGraphicFramePr>
        <p:xfrm>
          <a:off x="1143000" y="581372"/>
          <a:ext cx="6629400" cy="37742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Visio" r:id="rId4" imgW="10490454" imgH="6764846" progId="">
                  <p:embed/>
                </p:oleObj>
              </mc:Choice>
              <mc:Fallback>
                <p:oleObj name="Visio" r:id="rId4" imgW="10490454" imgH="6764846" progId="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4589C7AE-6E15-4DF8-82D3-3EE579A77F9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2704" t="8586" r="3127" b="10275"/>
                      <a:stretch>
                        <a:fillRect/>
                      </a:stretch>
                    </p:blipFill>
                    <p:spPr bwMode="auto">
                      <a:xfrm>
                        <a:off x="1143000" y="581372"/>
                        <a:ext cx="6629400" cy="37742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667274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 idx="1"/>
          </p:nvPr>
        </p:nvSpPr>
        <p:spPr>
          <a:xfrm>
            <a:off x="395286" y="735547"/>
            <a:ext cx="7628337" cy="3672147"/>
          </a:xfrm>
        </p:spPr>
        <p:txBody>
          <a:bodyPr/>
          <a:lstStyle/>
          <a:p>
            <a:r>
              <a:rPr kumimoji="1" lang="en-US" dirty="0"/>
              <a:t>Basic recognition will provide the information of lights such as..</a:t>
            </a:r>
          </a:p>
          <a:p>
            <a:pPr lvl="1"/>
            <a:r>
              <a:rPr kumimoji="1" lang="en-US" dirty="0"/>
              <a:t>Position</a:t>
            </a:r>
          </a:p>
          <a:p>
            <a:pPr lvl="1"/>
            <a:r>
              <a:rPr kumimoji="1" lang="en-US" dirty="0"/>
              <a:t>3D Motion</a:t>
            </a:r>
          </a:p>
          <a:p>
            <a:pPr lvl="1"/>
            <a:r>
              <a:rPr kumimoji="1" lang="en-US" dirty="0"/>
              <a:t>Classification</a:t>
            </a:r>
          </a:p>
          <a:p>
            <a:pPr lvl="1"/>
            <a:r>
              <a:rPr kumimoji="1" lang="en-US" dirty="0"/>
              <a:t>Pair track information</a:t>
            </a:r>
          </a:p>
          <a:p>
            <a:pPr marL="0" indent="0">
              <a:buNone/>
            </a:pPr>
            <a:endParaRPr kumimoji="1" lang="en-US" dirty="0"/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LSD </a:t>
            </a:r>
            <a:endParaRPr kumimoji="1" lang="en-US" dirty="0"/>
          </a:p>
        </p:txBody>
      </p:sp>
    </p:spTree>
    <p:extLst>
      <p:ext uri="{BB962C8B-B14F-4D97-AF65-F5344CB8AC3E}">
        <p14:creationId xmlns:p14="http://schemas.microsoft.com/office/powerpoint/2010/main" val="186410032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3456BF4-38DD-48C5-8EC0-0970D82663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DCEACA-73E7-4DDC-B6C9-AB2AFD5B3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LSD 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E2BCCFD-C8D7-4A3F-8D04-062519D2D0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714" y="1123950"/>
            <a:ext cx="5790470" cy="251241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4A8359A-C282-42D7-BF41-EC08E9E559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0" y="1400065"/>
            <a:ext cx="1725433" cy="1960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0557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53A91C-A849-4F57-B655-6673BD8E8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56548"/>
            <a:ext cx="6903243" cy="486053"/>
          </a:xfrm>
        </p:spPr>
        <p:txBody>
          <a:bodyPr/>
          <a:lstStyle/>
          <a:p>
            <a:r>
              <a:rPr lang="en-US" altLang="zh-CN" dirty="0"/>
              <a:t>LSD</a:t>
            </a:r>
            <a:r>
              <a:rPr lang="en-US" dirty="0"/>
              <a:t>: Segment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0A7864-59DA-4D90-BD37-A19C9FFC0E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735808"/>
            <a:ext cx="7337823" cy="3671888"/>
          </a:xfrm>
        </p:spPr>
        <p:txBody>
          <a:bodyPr/>
          <a:lstStyle/>
          <a:p>
            <a:r>
              <a:rPr lang="en-US" altLang="ja-JP" sz="1050" dirty="0">
                <a:ea typeface="ＭＳ Ｐゴシック" pitchFamily="34" charset="-128"/>
              </a:rPr>
              <a:t>The segmentation searches for spots of local brightness maxima in the ROI of the image. </a:t>
            </a:r>
          </a:p>
          <a:p>
            <a:r>
              <a:rPr lang="en-US" altLang="ja-JP" sz="1050" dirty="0">
                <a:ea typeface="ＭＳ Ｐゴシック" pitchFamily="34" charset="-128"/>
              </a:rPr>
              <a:t>The output of the segmentation is a light object list, with the following information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Intensity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RGB-color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Position</a:t>
            </a:r>
          </a:p>
          <a:p>
            <a:pPr lvl="1"/>
            <a:r>
              <a:rPr lang="en-US" altLang="ja-JP" sz="1050" dirty="0">
                <a:ea typeface="ＭＳ Ｐゴシック" pitchFamily="34" charset="-128"/>
              </a:rPr>
              <a:t>Size</a:t>
            </a:r>
            <a:endParaRPr lang="en-US" dirty="0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1B2BD23A-DC89-4D7E-8C79-DF3D35C3E11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36045" y="1714500"/>
          <a:ext cx="3505213" cy="25205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Visio" r:id="rId4" imgW="3957638" imgH="3406616" progId="">
                  <p:embed/>
                </p:oleObj>
              </mc:Choice>
              <mc:Fallback>
                <p:oleObj name="Visio" r:id="rId4" imgW="3957638" imgH="3406616" progId="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1B2BD23A-DC89-4D7E-8C79-DF3D35C3E11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2740" t="8594" r="3133" b="10313"/>
                      <a:stretch>
                        <a:fillRect/>
                      </a:stretch>
                    </p:blipFill>
                    <p:spPr bwMode="auto">
                      <a:xfrm>
                        <a:off x="2736045" y="1714500"/>
                        <a:ext cx="3505213" cy="252055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882949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タイトル 1"/>
          <p:cNvSpPr>
            <a:spLocks noGrp="1"/>
          </p:cNvSpPr>
          <p:nvPr>
            <p:ph type="title"/>
          </p:nvPr>
        </p:nvSpPr>
        <p:spPr>
          <a:xfrm>
            <a:off x="533400" y="209550"/>
            <a:ext cx="6903243" cy="486053"/>
          </a:xfrm>
        </p:spPr>
        <p:txBody>
          <a:bodyPr/>
          <a:lstStyle/>
          <a:p>
            <a:r>
              <a:rPr kumimoji="1" lang="en-US" dirty="0"/>
              <a:t>Detail of Segmentation (1/3)</a:t>
            </a:r>
          </a:p>
        </p:txBody>
      </p:sp>
      <p:sp>
        <p:nvSpPr>
          <p:cNvPr id="16" name="コンテンツ プレースホルダ 2"/>
          <p:cNvSpPr>
            <a:spLocks noGrp="1"/>
          </p:cNvSpPr>
          <p:nvPr>
            <p:ph idx="1"/>
          </p:nvPr>
        </p:nvSpPr>
        <p:spPr>
          <a:xfrm>
            <a:off x="533400" y="735808"/>
            <a:ext cx="8001000" cy="3436142"/>
          </a:xfrm>
        </p:spPr>
        <p:txBody>
          <a:bodyPr>
            <a:normAutofit fontScale="85000" lnSpcReduction="20000"/>
          </a:bodyPr>
          <a:lstStyle/>
          <a:p>
            <a:r>
              <a:rPr kumimoji="1" lang="en-US" dirty="0"/>
              <a:t>Input of segmentation come from imager</a:t>
            </a:r>
          </a:p>
          <a:p>
            <a:pPr lvl="1"/>
            <a:r>
              <a:rPr kumimoji="1" lang="en-US" dirty="0"/>
              <a:t>The raw data will provided by the Bayer Pattern</a:t>
            </a:r>
          </a:p>
          <a:p>
            <a:r>
              <a:rPr kumimoji="1" lang="en-US" dirty="0"/>
              <a:t>Segmentation finds the high intensity pixels as light objects</a:t>
            </a:r>
          </a:p>
          <a:p>
            <a:pPr lvl="1"/>
            <a:r>
              <a:rPr kumimoji="1" lang="en-US" dirty="0"/>
              <a:t>Use red-color only to detect intensity(for performance)</a:t>
            </a:r>
          </a:p>
          <a:p>
            <a:pPr lvl="2"/>
            <a:r>
              <a:rPr kumimoji="1" lang="en-US" altLang="ja-JP" dirty="0"/>
              <a:t>Skip the non-red data to reduce using the resource.</a:t>
            </a:r>
          </a:p>
          <a:p>
            <a:pPr lvl="2"/>
            <a:r>
              <a:rPr kumimoji="1" lang="en-US" dirty="0"/>
              <a:t>To keep the performance with limited hardware resource,</a:t>
            </a:r>
            <a:br>
              <a:rPr kumimoji="1" lang="en-US" dirty="0"/>
            </a:br>
            <a:r>
              <a:rPr kumimoji="1" lang="en-US" dirty="0"/>
              <a:t>kind of filtering need to reduce the memory and calculation.</a:t>
            </a:r>
          </a:p>
          <a:p>
            <a:r>
              <a:rPr kumimoji="1" lang="en-US" dirty="0"/>
              <a:t>Step will be Segment by lines -&gt; convert lines to region -&gt; create light object list</a:t>
            </a:r>
          </a:p>
          <a:p>
            <a:pPr lvl="1"/>
            <a:endParaRPr kumimoji="1" lang="en-US" dirty="0"/>
          </a:p>
          <a:p>
            <a:r>
              <a:rPr kumimoji="1" lang="en-US" dirty="0"/>
              <a:t>Basic classification also calculated</a:t>
            </a:r>
          </a:p>
          <a:p>
            <a:pPr lvl="1"/>
            <a:r>
              <a:rPr kumimoji="1" lang="en-US" dirty="0"/>
              <a:t>Basic pair-light estimation</a:t>
            </a:r>
          </a:p>
          <a:p>
            <a:pPr lvl="2"/>
            <a:r>
              <a:rPr kumimoji="1" lang="en-US" dirty="0"/>
              <a:t>Only from the intensity and position</a:t>
            </a:r>
          </a:p>
          <a:p>
            <a:endParaRPr kumimoji="1" lang="en-US" dirty="0"/>
          </a:p>
        </p:txBody>
      </p:sp>
      <p:graphicFrame>
        <p:nvGraphicFramePr>
          <p:cNvPr id="17" name="表 16"/>
          <p:cNvGraphicFramePr>
            <a:graphicFrameLocks noGrp="1"/>
          </p:cNvGraphicFramePr>
          <p:nvPr/>
        </p:nvGraphicFramePr>
        <p:xfrm>
          <a:off x="6985140" y="735546"/>
          <a:ext cx="812800" cy="952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25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5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5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25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R</a:t>
                      </a:r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B</a:t>
                      </a: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G</a:t>
                      </a:r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B</a:t>
                      </a: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R</a:t>
                      </a:r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G</a:t>
                      </a:r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R</a:t>
                      </a:r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G</a:t>
                      </a:r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R</a:t>
                      </a:r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B</a:t>
                      </a: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G</a:t>
                      </a:r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B</a:t>
                      </a:r>
                    </a:p>
                  </a:txBody>
                  <a:tcPr marL="68580" marR="68580" marT="34290" marB="3429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R</a:t>
                      </a:r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8" name="テキスト ボックス 17"/>
          <p:cNvSpPr txBox="1"/>
          <p:nvPr/>
        </p:nvSpPr>
        <p:spPr>
          <a:xfrm>
            <a:off x="6669405" y="1680210"/>
            <a:ext cx="1455848" cy="2135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88" dirty="0"/>
              <a:t>The image</a:t>
            </a:r>
            <a:r>
              <a:rPr kumimoji="1" lang="en-US" sz="788" dirty="0"/>
              <a:t> of </a:t>
            </a:r>
            <a:r>
              <a:rPr lang="en-US" sz="788" dirty="0"/>
              <a:t>B</a:t>
            </a:r>
            <a:r>
              <a:rPr kumimoji="1" lang="en-US" sz="788" dirty="0"/>
              <a:t>ayer Pattern.</a:t>
            </a:r>
          </a:p>
        </p:txBody>
      </p:sp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タイトル 1"/>
          <p:cNvSpPr>
            <a:spLocks noGrp="1"/>
          </p:cNvSpPr>
          <p:nvPr>
            <p:ph type="title"/>
          </p:nvPr>
        </p:nvSpPr>
        <p:spPr>
          <a:xfrm>
            <a:off x="546880" y="188317"/>
            <a:ext cx="6903243" cy="486053"/>
          </a:xfrm>
        </p:spPr>
        <p:txBody>
          <a:bodyPr/>
          <a:lstStyle/>
          <a:p>
            <a:r>
              <a:rPr kumimoji="1" lang="en-US" altLang="ja-JP" dirty="0"/>
              <a:t>Detail</a:t>
            </a:r>
            <a:r>
              <a:rPr kumimoji="1" lang="en-US" dirty="0"/>
              <a:t> of Segmentation (2/3)</a:t>
            </a:r>
          </a:p>
        </p:txBody>
      </p:sp>
      <p:sp>
        <p:nvSpPr>
          <p:cNvPr id="16" name="コンテンツ プレースホルダ 2"/>
          <p:cNvSpPr>
            <a:spLocks noGrp="1"/>
          </p:cNvSpPr>
          <p:nvPr>
            <p:ph idx="1"/>
          </p:nvPr>
        </p:nvSpPr>
        <p:spPr>
          <a:xfrm>
            <a:off x="546880" y="674370"/>
            <a:ext cx="7505556" cy="1634490"/>
          </a:xfrm>
        </p:spPr>
        <p:txBody>
          <a:bodyPr>
            <a:normAutofit fontScale="62500" lnSpcReduction="20000"/>
          </a:bodyPr>
          <a:lstStyle/>
          <a:p>
            <a:r>
              <a:rPr kumimoji="1" lang="en-US" dirty="0"/>
              <a:t>Segment lines: </a:t>
            </a:r>
          </a:p>
          <a:p>
            <a:pPr lvl="1"/>
            <a:r>
              <a:rPr kumimoji="1" lang="en-US" dirty="0"/>
              <a:t>Segment each line to segmented line</a:t>
            </a:r>
          </a:p>
          <a:p>
            <a:pPr lvl="2"/>
            <a:r>
              <a:rPr kumimoji="1" lang="en-US" dirty="0"/>
              <a:t>Find maxima for each segmented lines</a:t>
            </a:r>
          </a:p>
          <a:p>
            <a:pPr lvl="1"/>
            <a:r>
              <a:rPr kumimoji="1" lang="en-US" dirty="0"/>
              <a:t>Intensity leveled for 3 steps. Light is find if the level is changed.</a:t>
            </a:r>
          </a:p>
          <a:p>
            <a:pPr lvl="2"/>
            <a:r>
              <a:rPr kumimoji="1" lang="en-US" dirty="0"/>
              <a:t>The threshold of the level will be change after the one cycle of segmentation, </a:t>
            </a:r>
            <a:br>
              <a:rPr kumimoji="1" lang="en-US" dirty="0"/>
            </a:br>
            <a:r>
              <a:rPr kumimoji="1" lang="en-US" dirty="0"/>
              <a:t>to get better segmentation result with different ambient brightness.</a:t>
            </a:r>
          </a:p>
          <a:p>
            <a:pPr lvl="2"/>
            <a:r>
              <a:rPr kumimoji="1" lang="en-US" dirty="0"/>
              <a:t>The highest intensity level will be center of light. </a:t>
            </a:r>
            <a:br>
              <a:rPr kumimoji="1" lang="en-US" dirty="0"/>
            </a:br>
            <a:r>
              <a:rPr kumimoji="1" lang="en-US" dirty="0"/>
              <a:t>If same level continues, center of those detected as one light.</a:t>
            </a:r>
          </a:p>
        </p:txBody>
      </p:sp>
      <p:graphicFrame>
        <p:nvGraphicFramePr>
          <p:cNvPr id="17" name="表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771190"/>
              </p:ext>
            </p:extLst>
          </p:nvPr>
        </p:nvGraphicFramePr>
        <p:xfrm>
          <a:off x="2101875" y="2459576"/>
          <a:ext cx="3078350" cy="800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78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0783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30</a:t>
                      </a: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60</a:t>
                      </a:r>
                    </a:p>
                  </a:txBody>
                  <a:tcPr marL="68580" marR="68580" marT="34290" marB="3429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180</a:t>
                      </a:r>
                    </a:p>
                  </a:txBody>
                  <a:tcPr marL="68580" marR="68580" marT="34290" marB="34290">
                    <a:solidFill>
                      <a:schemeClr val="tx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30</a:t>
                      </a: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30</a:t>
                      </a: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30</a:t>
                      </a: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180</a:t>
                      </a:r>
                    </a:p>
                  </a:txBody>
                  <a:tcPr marL="68580" marR="68580" marT="34290" marB="34290">
                    <a:solidFill>
                      <a:schemeClr val="tx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</a:rPr>
                        <a:t>255</a:t>
                      </a:r>
                    </a:p>
                  </a:txBody>
                  <a:tcPr marL="68580" marR="68580"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30</a:t>
                      </a:r>
                    </a:p>
                  </a:txBody>
                  <a:tcPr marL="68580" marR="68580" marT="34290" marB="34290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80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120</a:t>
                      </a:r>
                    </a:p>
                  </a:txBody>
                  <a:tcPr marL="68580" marR="68580" marT="34290" marB="3429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30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30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2"/>
                          </a:solidFill>
                        </a:rPr>
                        <a:t>0</a:t>
                      </a:r>
                    </a:p>
                  </a:txBody>
                  <a:tcPr marL="68580" marR="68580" marT="34290" marB="3429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8" name="表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2034038"/>
              </p:ext>
            </p:extLst>
          </p:nvPr>
        </p:nvGraphicFramePr>
        <p:xfrm>
          <a:off x="5206430" y="2188137"/>
          <a:ext cx="2102284" cy="1083753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204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02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14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43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057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1460">
                <a:tc>
                  <a:txBody>
                    <a:bodyPr/>
                    <a:lstStyle/>
                    <a:p>
                      <a:r>
                        <a:rPr lang="en-US" sz="600" dirty="0"/>
                        <a:t>Maxima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Maxima</a:t>
                      </a:r>
                    </a:p>
                    <a:p>
                      <a:r>
                        <a:rPr lang="en-US" sz="600" dirty="0"/>
                        <a:t>Positi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L1 - length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L2</a:t>
                      </a:r>
                      <a:r>
                        <a:rPr lang="en-US" altLang="ja-JP" sz="600" dirty="0"/>
                        <a:t>- length</a:t>
                      </a:r>
                      <a:endParaRPr lang="en-US" sz="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L3</a:t>
                      </a:r>
                      <a:r>
                        <a:rPr lang="en-US" altLang="ja-JP" sz="600" dirty="0"/>
                        <a:t>- length</a:t>
                      </a:r>
                      <a:endParaRPr lang="en-US" sz="6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en-US" sz="600" dirty="0"/>
                        <a:t>3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[2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0751">
                <a:tc>
                  <a:txBody>
                    <a:bodyPr/>
                    <a:lstStyle/>
                    <a:p>
                      <a:r>
                        <a:rPr lang="en-US" sz="600" dirty="0"/>
                        <a:t>180,3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[2],[6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2,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1,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0751">
                <a:tc>
                  <a:txBody>
                    <a:bodyPr/>
                    <a:lstStyle/>
                    <a:p>
                      <a:r>
                        <a:rPr lang="en-US" sz="600" dirty="0"/>
                        <a:t>30,25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[2],[7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1,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0,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0,2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0751">
                <a:tc>
                  <a:txBody>
                    <a:bodyPr/>
                    <a:lstStyle/>
                    <a:p>
                      <a:r>
                        <a:rPr lang="en-US" sz="600" dirty="0"/>
                        <a:t>12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[7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en-US" sz="600" dirty="0"/>
                        <a:t>3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[6]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600" dirty="0"/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6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" name="正方形/長方形 9"/>
          <p:cNvSpPr/>
          <p:nvPr/>
        </p:nvSpPr>
        <p:spPr>
          <a:xfrm>
            <a:off x="2101875" y="2783612"/>
            <a:ext cx="3078342" cy="16201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2" name="直線コネクタ 11"/>
          <p:cNvCxnSpPr/>
          <p:nvPr/>
        </p:nvCxnSpPr>
        <p:spPr>
          <a:xfrm>
            <a:off x="2896195" y="4100513"/>
            <a:ext cx="3132348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正方形/長方形 12"/>
          <p:cNvSpPr/>
          <p:nvPr/>
        </p:nvSpPr>
        <p:spPr>
          <a:xfrm>
            <a:off x="3544267" y="3938495"/>
            <a:ext cx="270030" cy="16201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5374062" y="3938495"/>
            <a:ext cx="270030" cy="16201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" name="正方形/長方形 18"/>
          <p:cNvSpPr/>
          <p:nvPr/>
        </p:nvSpPr>
        <p:spPr>
          <a:xfrm>
            <a:off x="4764446" y="3559070"/>
            <a:ext cx="298448" cy="5478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0" name="正方形/長方形 19"/>
          <p:cNvSpPr/>
          <p:nvPr/>
        </p:nvSpPr>
        <p:spPr>
          <a:xfrm>
            <a:off x="4490409" y="3944905"/>
            <a:ext cx="270030" cy="16201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正方形/長方形 20"/>
          <p:cNvSpPr/>
          <p:nvPr/>
        </p:nvSpPr>
        <p:spPr>
          <a:xfrm>
            <a:off x="5072094" y="3309105"/>
            <a:ext cx="298448" cy="79140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23" name="直線コネクタ 22"/>
          <p:cNvCxnSpPr/>
          <p:nvPr/>
        </p:nvCxnSpPr>
        <p:spPr>
          <a:xfrm>
            <a:off x="2924175" y="3990232"/>
            <a:ext cx="3093712" cy="1878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線コネクタ 23"/>
          <p:cNvCxnSpPr/>
          <p:nvPr/>
        </p:nvCxnSpPr>
        <p:spPr>
          <a:xfrm>
            <a:off x="2895600" y="3809256"/>
            <a:ext cx="3133725" cy="1428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コネクタ 27"/>
          <p:cNvCxnSpPr/>
          <p:nvPr/>
        </p:nvCxnSpPr>
        <p:spPr>
          <a:xfrm flipV="1">
            <a:off x="2895600" y="3585419"/>
            <a:ext cx="3133725" cy="476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テキスト ボックス 34"/>
          <p:cNvSpPr txBox="1"/>
          <p:nvPr/>
        </p:nvSpPr>
        <p:spPr>
          <a:xfrm>
            <a:off x="2046987" y="2257832"/>
            <a:ext cx="68640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sz="1050" dirty="0"/>
              <a:t>Intensity</a:t>
            </a:r>
          </a:p>
        </p:txBody>
      </p:sp>
      <p:sp>
        <p:nvSpPr>
          <p:cNvPr id="37" name="上矢印 36"/>
          <p:cNvSpPr/>
          <p:nvPr/>
        </p:nvSpPr>
        <p:spPr>
          <a:xfrm>
            <a:off x="5041582" y="4118819"/>
            <a:ext cx="165735" cy="177165"/>
          </a:xfrm>
          <a:prstGeom prst="up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8" name="テキスト ボックス 37"/>
          <p:cNvSpPr txBox="1"/>
          <p:nvPr/>
        </p:nvSpPr>
        <p:spPr>
          <a:xfrm>
            <a:off x="5161598" y="4147394"/>
            <a:ext cx="987771" cy="2135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sz="788" dirty="0"/>
              <a:t>Center of the light</a:t>
            </a:r>
          </a:p>
        </p:txBody>
      </p:sp>
      <p:sp>
        <p:nvSpPr>
          <p:cNvPr id="40" name="テキスト ボックス 39"/>
          <p:cNvSpPr txBox="1"/>
          <p:nvPr/>
        </p:nvSpPr>
        <p:spPr>
          <a:xfrm>
            <a:off x="2641282" y="3907364"/>
            <a:ext cx="30861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sz="750" dirty="0"/>
              <a:t>Lv1</a:t>
            </a:r>
          </a:p>
        </p:txBody>
      </p:sp>
      <p:sp>
        <p:nvSpPr>
          <p:cNvPr id="41" name="テキスト ボックス 40"/>
          <p:cNvSpPr txBox="1"/>
          <p:nvPr/>
        </p:nvSpPr>
        <p:spPr>
          <a:xfrm>
            <a:off x="2635567" y="3718769"/>
            <a:ext cx="30861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sz="750" dirty="0"/>
              <a:t>Lv2</a:t>
            </a:r>
          </a:p>
        </p:txBody>
      </p:sp>
      <p:sp>
        <p:nvSpPr>
          <p:cNvPr id="42" name="テキスト ボックス 41"/>
          <p:cNvSpPr txBox="1"/>
          <p:nvPr/>
        </p:nvSpPr>
        <p:spPr>
          <a:xfrm>
            <a:off x="2629852" y="3513029"/>
            <a:ext cx="30861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sz="750" dirty="0"/>
              <a:t>Lv3</a:t>
            </a:r>
          </a:p>
        </p:txBody>
      </p:sp>
      <p:sp>
        <p:nvSpPr>
          <p:cNvPr id="44" name="上矢印 43"/>
          <p:cNvSpPr/>
          <p:nvPr/>
        </p:nvSpPr>
        <p:spPr>
          <a:xfrm>
            <a:off x="3584257" y="4124534"/>
            <a:ext cx="165735" cy="177165"/>
          </a:xfrm>
          <a:prstGeom prst="up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テキスト ボックス 44"/>
          <p:cNvSpPr txBox="1"/>
          <p:nvPr/>
        </p:nvSpPr>
        <p:spPr>
          <a:xfrm>
            <a:off x="3732848" y="4135964"/>
            <a:ext cx="987771" cy="2135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sz="788" dirty="0"/>
              <a:t>Center of the light</a:t>
            </a:r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6006465" y="3906145"/>
            <a:ext cx="303288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sz="825" dirty="0"/>
              <a:t>50</a:t>
            </a:r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6000750" y="3728980"/>
            <a:ext cx="362600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25" dirty="0"/>
              <a:t>100</a:t>
            </a:r>
            <a:endParaRPr kumimoji="1" lang="en-US" sz="825" dirty="0"/>
          </a:p>
        </p:txBody>
      </p:sp>
      <p:sp>
        <p:nvSpPr>
          <p:cNvPr id="32" name="テキスト ボックス 31"/>
          <p:cNvSpPr txBox="1"/>
          <p:nvPr/>
        </p:nvSpPr>
        <p:spPr>
          <a:xfrm>
            <a:off x="5989320" y="3500380"/>
            <a:ext cx="362600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25" dirty="0"/>
              <a:t>160</a:t>
            </a:r>
            <a:endParaRPr kumimoji="1" lang="en-US" sz="825" dirty="0"/>
          </a:p>
        </p:txBody>
      </p:sp>
      <p:sp>
        <p:nvSpPr>
          <p:cNvPr id="33" name="テキスト ボックス 32"/>
          <p:cNvSpPr txBox="1"/>
          <p:nvPr/>
        </p:nvSpPr>
        <p:spPr>
          <a:xfrm>
            <a:off x="869307" y="3628445"/>
            <a:ext cx="1497284" cy="41549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050" dirty="0"/>
              <a:t>Graph is built from red marked column</a:t>
            </a:r>
            <a:endParaRPr kumimoji="1" lang="en-US" sz="1050" dirty="0"/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heme/theme1.xml><?xml version="1.0" encoding="utf-8"?>
<a:theme xmlns:a="http://schemas.openxmlformats.org/drawingml/2006/main" name="AST Conti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 (CCT)" ma:contentTypeID="0x010100C54AEFCD9DBB4E319E8DEF77F32B830D00DEA60A3FE91E034FA8AF177ED721BBF0" ma:contentTypeVersion="4" ma:contentTypeDescription="Document Content Type (CCT)" ma:contentTypeScope="" ma:versionID="06004adbcb2143abefd43c12c627e161">
  <xsd:schema xmlns:xsd="http://www.w3.org/2001/XMLSchema" xmlns:xs="http://www.w3.org/2001/XMLSchema" xmlns:p="http://schemas.microsoft.com/office/2006/metadata/properties" xmlns:ns1="http://schemas.microsoft.com/sharepoint/v3" xmlns:ns3="beb1d50f-9ce7-44a3-ac68-1a2dd1c73278" targetNamespace="http://schemas.microsoft.com/office/2006/metadata/properties" ma:root="true" ma:fieldsID="c0f5ef103117cffa076fc53e4657665f" ns1:_="" ns3:_="">
    <xsd:import namespace="http://schemas.microsoft.com/sharepoint/v3"/>
    <xsd:import namespace="beb1d50f-9ce7-44a3-ac68-1a2dd1c73278"/>
    <xsd:element name="properties">
      <xsd:complexType>
        <xsd:sequence>
          <xsd:element name="documentManagement">
            <xsd:complexType>
              <xsd:all>
                <xsd:element ref="ns1:Status" minOccurs="0"/>
                <xsd:element ref="ns1:Comments" minOccurs="0"/>
                <xsd:element ref="ns1:Language" minOccurs="0"/>
                <xsd:element ref="ns1:Owner" minOccurs="0"/>
                <xsd:element ref="ns1:SecurityClass" minOccurs="0"/>
                <xsd:element ref="ns1:ValidUntil" minOccurs="0"/>
                <xsd:element ref="ns3:OrgFileExt" minOccurs="0"/>
                <xsd:element ref="ns3:CurItemEx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tatus" ma:index="10" nillable="true" ma:displayName="Status" ma:default="Draft" ma:description="Document Status" ma:internalName="Status" ma:readOnly="false">
      <xsd:simpleType>
        <xsd:restriction base="dms:Choice">
          <xsd:enumeration value=""/>
          <xsd:enumeration value="Not started"/>
          <xsd:enumeration value="Draft"/>
          <xsd:enumeration value="Reviewed"/>
          <xsd:enumeration value="Released"/>
          <xsd:enumeration value="Valid"/>
          <xsd:enumeration value="Outdated"/>
          <xsd:enumeration value="Invalid"/>
        </xsd:restriction>
      </xsd:simpleType>
    </xsd:element>
    <xsd:element name="Comments" ma:index="11" nillable="true" ma:displayName="Comment" ma:internalName="Comments">
      <xsd:simpleType>
        <xsd:restriction base="dms:Note">
          <xsd:maxLength value="255"/>
        </xsd:restriction>
      </xsd:simpleType>
    </xsd:element>
    <xsd:element name="Language" ma:index="12" nillable="true" ma:displayName="Language" ma:default="English (en)" ma:description="Document Language" ma:internalName="Language" ma:readOnly="false">
      <xsd:simpleType>
        <xsd:restriction base="dms:Choice">
          <xsd:enumeration value="Arabic (ar)"/>
          <xsd:enumeration value="Bulgarian (bg)"/>
          <xsd:enumeration value="Chinese (zh)"/>
          <xsd:enumeration value="Croatian (hr)"/>
          <xsd:enumeration value="Czech (cs)"/>
          <xsd:enumeration value="Danish (da)"/>
          <xsd:enumeration value="Dutch (nl)"/>
          <xsd:enumeration value="English (en)"/>
          <xsd:enumeration value="Estonian (et)"/>
          <xsd:enumeration value="Finnish (fi)"/>
          <xsd:enumeration value="French (fr)"/>
          <xsd:enumeration value="German (de)"/>
          <xsd:enumeration value="Greek (el)"/>
          <xsd:enumeration value="Hebrew (he)"/>
          <xsd:enumeration value="Hindi (hi)"/>
          <xsd:enumeration value="Hungarian (hu)"/>
          <xsd:enumeration value="Indonesian (id)"/>
          <xsd:enumeration value="Italian (it)"/>
          <xsd:enumeration value="Japanese (ja)"/>
          <xsd:enumeration value="Korean (ko)"/>
          <xsd:enumeration value="Latvian (lv)"/>
          <xsd:enumeration value="Lithuanian (lt)"/>
          <xsd:enumeration value="Malay (ms)"/>
          <xsd:enumeration value="Norwegian (no)"/>
          <xsd:enumeration value="Polish (pl)"/>
          <xsd:enumeration value="Portuguese (pt)"/>
          <xsd:enumeration value="Romanian (ro)"/>
          <xsd:enumeration value="Russian (ru)"/>
          <xsd:enumeration value="Serbian (sr)"/>
          <xsd:enumeration value="Slovak (sk)"/>
          <xsd:enumeration value="Slovenian (sl)"/>
          <xsd:enumeration value="Spanish (es)"/>
          <xsd:enumeration value="Swedish (sv)"/>
          <xsd:enumeration value="Thai (th)"/>
          <xsd:enumeration value="Turkish (tr)"/>
          <xsd:enumeration value="Ukrainian (uk)"/>
          <xsd:enumeration value="Urdu (ur)"/>
          <xsd:enumeration value="Vietnamese (vi)"/>
        </xsd:restriction>
      </xsd:simpleType>
    </xsd:element>
    <xsd:element name="Owner" ma:index="13" nillable="true" ma:displayName="Owner of the Document" ma:description="Owner of the Document" ma:internalName="Owner_x0020_of_x0020_the_x0020_Document" ma:readOnly="false">
      <xsd:simpleType>
        <xsd:restriction base="dms:Text"/>
      </xsd:simpleType>
    </xsd:element>
    <xsd:element name="SecurityClass" ma:index="14" nillable="true" ma:displayName="Security Class" ma:default="Internal" ma:description="Security Class of Document" ma:internalName="SecurityClass" ma:readOnly="false">
      <xsd:simpleType>
        <xsd:restriction base="dms:Choice">
          <xsd:enumeration value="Internal"/>
          <xsd:enumeration value="Public"/>
          <xsd:enumeration value="Confidential"/>
        </xsd:restriction>
      </xsd:simpleType>
    </xsd:element>
    <xsd:element name="ValidUntil" ma:index="15" nillable="true" ma:displayName="Valid Until" ma:description="Document Valid Until" ma:format="DateOnly" ma:internalName="ValidUntil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b1d50f-9ce7-44a3-ac68-1a2dd1c73278" elementFormDefault="qualified">
    <xsd:import namespace="http://schemas.microsoft.com/office/2006/documentManagement/types"/>
    <xsd:import namespace="http://schemas.microsoft.com/office/infopath/2007/PartnerControls"/>
    <xsd:element name="OrgFileExt" ma:index="16" nillable="true" ma:displayName="Orginal Ext" ma:internalName="OrgFileExt" ma:readOnly="true">
      <xsd:simpleType>
        <xsd:restriction base="dms:Text"/>
      </xsd:simpleType>
    </xsd:element>
    <xsd:element name="CurItemExt" ma:index="17" nillable="true" ma:displayName="Current Ext" ma:internalName="CurItemExt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8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>English (en)</Language>
    <Status xmlns="http://schemas.microsoft.com/sharepoint/v3">Draft</Status>
    <Owner xmlns="http://schemas.microsoft.com/sharepoint/v3" xsi:nil="true"/>
    <ValidUntil xmlns="http://schemas.microsoft.com/sharepoint/v3" xsi:nil="true"/>
    <SecurityClass xmlns="http://schemas.microsoft.com/sharepoint/v3">Internal</SecurityClass>
    <Comment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6DE48C8-3D76-45C4-B3D2-AB16593C9A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eb1d50f-9ce7-44a3-ac68-1a2dd1c732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9171E50-560A-4FB2-91BE-2A249292EC79}">
  <ds:schemaRefs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beb1d50f-9ce7-44a3-ac68-1a2dd1c73278"/>
    <ds:schemaRef ds:uri="http://schemas.microsoft.com/office/2006/documentManagement/types"/>
    <ds:schemaRef ds:uri="http://purl.org/dc/elements/1.1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0961655-6A3C-43A6-9B5C-CADCAAB476E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ST Conti 16x9</Template>
  <TotalTime>0</TotalTime>
  <Words>1187</Words>
  <Application>Microsoft Office PowerPoint</Application>
  <PresentationFormat>On-screen Show (16:9)</PresentationFormat>
  <Paragraphs>313</Paragraphs>
  <Slides>28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3" baseType="lpstr">
      <vt:lpstr>Arial</vt:lpstr>
      <vt:lpstr>Calibri Light</vt:lpstr>
      <vt:lpstr>Wingdings</vt:lpstr>
      <vt:lpstr>AST Conti 16x9</vt:lpstr>
      <vt:lpstr>Visio</vt:lpstr>
      <vt:lpstr>ADAS Engineering China Training</vt:lpstr>
      <vt:lpstr>Training Target </vt:lpstr>
      <vt:lpstr>Training Agenda</vt:lpstr>
      <vt:lpstr>HLA Algorithm Architecture</vt:lpstr>
      <vt:lpstr>LSD </vt:lpstr>
      <vt:lpstr>LSD </vt:lpstr>
      <vt:lpstr>LSD: Segmentation</vt:lpstr>
      <vt:lpstr>Detail of Segmentation (1/3)</vt:lpstr>
      <vt:lpstr>Detail of Segmentation (2/3)</vt:lpstr>
      <vt:lpstr>Detail of Segmentation (3/3)</vt:lpstr>
      <vt:lpstr>LSD: Tracking</vt:lpstr>
      <vt:lpstr>Detail of Tracking</vt:lpstr>
      <vt:lpstr>LSD: Analysis</vt:lpstr>
      <vt:lpstr>Detail of Analysis</vt:lpstr>
      <vt:lpstr>HLA</vt:lpstr>
      <vt:lpstr>HLA Turn Off Reason</vt:lpstr>
      <vt:lpstr>PowerPoint Presentation</vt:lpstr>
      <vt:lpstr>TSA Algorithm Architecture</vt:lpstr>
      <vt:lpstr>SR</vt:lpstr>
      <vt:lpstr>SR</vt:lpstr>
      <vt:lpstr>SR</vt:lpstr>
      <vt:lpstr>SR</vt:lpstr>
      <vt:lpstr>SR</vt:lpstr>
      <vt:lpstr>TSA</vt:lpstr>
      <vt:lpstr>TSA </vt:lpstr>
      <vt:lpstr>PowerPoint Presentation</vt:lpstr>
      <vt:lpstr>Thank you for your attention!</vt:lpstr>
      <vt:lpstr>PowerPoint Presentation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uidp6926</dc:creator>
  <cp:lastModifiedBy>Yefei, Wei (uia70152)</cp:lastModifiedBy>
  <cp:revision>45</cp:revision>
  <dcterms:created xsi:type="dcterms:W3CDTF">2017-03-02T03:27:41Z</dcterms:created>
  <dcterms:modified xsi:type="dcterms:W3CDTF">2021-03-15T09:3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115900</vt:r8>
  </property>
  <property fmtid="{D5CDD505-2E9C-101B-9397-08002B2CF9AE}" pid="3" name="ContentTypeId">
    <vt:lpwstr>0x010100C54AEFCD9DBB4E319E8DEF77F32B830D00DEA60A3FE91E034FA8AF177ED721BBF0</vt:lpwstr>
  </property>
</Properties>
</file>